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61" r:id="rId2"/>
  </p:sldMasterIdLst>
  <p:notesMasterIdLst>
    <p:notesMasterId r:id="rId8"/>
  </p:notesMasterIdLst>
  <p:handoutMasterIdLst>
    <p:handoutMasterId r:id="rId9"/>
  </p:handoutMasterIdLst>
  <p:sldIdLst>
    <p:sldId id="341" r:id="rId3"/>
    <p:sldId id="354" r:id="rId4"/>
    <p:sldId id="358" r:id="rId5"/>
    <p:sldId id="361" r:id="rId6"/>
    <p:sldId id="316" r:id="rId7"/>
  </p:sldIdLst>
  <p:sldSz cx="12192000" cy="6858000"/>
  <p:notesSz cx="9874250" cy="679767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BC5C"/>
    <a:srgbClr val="9AC97D"/>
    <a:srgbClr val="00BC55"/>
    <a:srgbClr val="75B44A"/>
    <a:srgbClr val="7CB953"/>
    <a:srgbClr val="87BF65"/>
    <a:srgbClr val="E4E4E4"/>
    <a:srgbClr val="F0F0F0"/>
    <a:srgbClr val="E6E6E6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18" autoAdjust="0"/>
    <p:restoredTop sz="99176" autoAdjust="0"/>
  </p:normalViewPr>
  <p:slideViewPr>
    <p:cSldViewPr snapToGrid="0">
      <p:cViewPr varScale="1">
        <p:scale>
          <a:sx n="115" d="100"/>
          <a:sy n="115" d="100"/>
        </p:scale>
        <p:origin x="732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F18487-38E7-418A-A87F-6C6ABCB99F04}" type="doc">
      <dgm:prSet loTypeId="urn:microsoft.com/office/officeart/2005/8/layout/hChevron3" loCatId="process" qsTypeId="urn:microsoft.com/office/officeart/2005/8/quickstyle/simple1" qsCatId="simple" csTypeId="urn:microsoft.com/office/officeart/2005/8/colors/accent3_3" csCatId="accent3" phldr="1"/>
      <dgm:spPr/>
      <dgm:t>
        <a:bodyPr/>
        <a:lstStyle/>
        <a:p>
          <a:endParaRPr lang="ru-RU"/>
        </a:p>
      </dgm:t>
    </dgm:pt>
    <dgm:pt modelId="{0C86C73A-F06E-4166-B6EA-160E1BBFD5F6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800" b="1" dirty="0" smtClean="0">
              <a:solidFill>
                <a:schemeClr val="tx1"/>
              </a:solidFill>
              <a:latin typeface="Arial Narrow" panose="020B0606020202030204" pitchFamily="34" charset="0"/>
            </a:rPr>
            <a:t>Жалоба</a:t>
          </a:r>
          <a:r>
            <a:rPr lang="en-US" sz="1800" b="1" dirty="0" smtClean="0">
              <a:solidFill>
                <a:schemeClr val="tx1"/>
              </a:solidFill>
              <a:latin typeface="Arial Narrow" panose="020B0606020202030204" pitchFamily="34" charset="0"/>
            </a:rPr>
            <a:t>/</a:t>
          </a:r>
          <a:r>
            <a:rPr lang="ru-RU" sz="1800" b="1" dirty="0" smtClean="0">
              <a:solidFill>
                <a:schemeClr val="tx1"/>
              </a:solidFill>
              <a:latin typeface="Arial Narrow" panose="020B0606020202030204" pitchFamily="34" charset="0"/>
            </a:rPr>
            <a:t>обращение в управление финансов Липецкой области</a:t>
          </a:r>
          <a:endParaRPr lang="ru-RU" sz="1800" b="1" dirty="0">
            <a:solidFill>
              <a:schemeClr val="tx1"/>
            </a:solidFill>
            <a:latin typeface="Arial Narrow" panose="020B0606020202030204" pitchFamily="34" charset="0"/>
          </a:endParaRPr>
        </a:p>
      </dgm:t>
    </dgm:pt>
    <dgm:pt modelId="{EAA46A8E-59E1-4A05-A984-1DCC2BFF07DB}" type="parTrans" cxnId="{0790A1FC-7CFC-47A7-AB72-5963C3D4053E}">
      <dgm:prSet/>
      <dgm:spPr/>
      <dgm:t>
        <a:bodyPr/>
        <a:lstStyle/>
        <a:p>
          <a:endParaRPr lang="ru-RU"/>
        </a:p>
      </dgm:t>
    </dgm:pt>
    <dgm:pt modelId="{98926946-5113-467E-AEBE-2D2B5803671B}" type="sibTrans" cxnId="{0790A1FC-7CFC-47A7-AB72-5963C3D4053E}">
      <dgm:prSet/>
      <dgm:spPr/>
      <dgm:t>
        <a:bodyPr/>
        <a:lstStyle/>
        <a:p>
          <a:endParaRPr lang="ru-RU"/>
        </a:p>
      </dgm:t>
    </dgm:pt>
    <dgm:pt modelId="{F3208F4A-B2BB-425A-8851-D6AEE731C0B4}">
      <dgm:prSet phldrT="[Текст]" custT="1"/>
      <dgm:spPr/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Arial Narrow" panose="020B0606020202030204" pitchFamily="34" charset="0"/>
            </a:rPr>
            <a:t>Административное</a:t>
          </a:r>
          <a:r>
            <a:rPr lang="ru-RU" sz="1400" b="1" dirty="0" smtClean="0">
              <a:latin typeface="Arial Narrow" panose="020B0606020202030204" pitchFamily="34" charset="0"/>
            </a:rPr>
            <a:t> </a:t>
          </a:r>
          <a:r>
            <a:rPr lang="ru-RU" sz="1800" b="1" dirty="0" smtClean="0">
              <a:solidFill>
                <a:schemeClr val="tx1"/>
              </a:solidFill>
              <a:latin typeface="Arial Narrow" panose="020B0606020202030204" pitchFamily="34" charset="0"/>
            </a:rPr>
            <a:t>производство</a:t>
          </a:r>
          <a:endParaRPr lang="ru-RU" sz="1400" b="1" dirty="0">
            <a:solidFill>
              <a:schemeClr val="tx1"/>
            </a:solidFill>
            <a:latin typeface="Arial Narrow" panose="020B0606020202030204" pitchFamily="34" charset="0"/>
          </a:endParaRPr>
        </a:p>
      </dgm:t>
    </dgm:pt>
    <dgm:pt modelId="{B8C579D0-7DEC-42FA-A7F5-0F90169637CF}" type="parTrans" cxnId="{30A07C0B-8453-4E95-B34F-AF9084295C4A}">
      <dgm:prSet/>
      <dgm:spPr/>
      <dgm:t>
        <a:bodyPr/>
        <a:lstStyle/>
        <a:p>
          <a:endParaRPr lang="ru-RU"/>
        </a:p>
      </dgm:t>
    </dgm:pt>
    <dgm:pt modelId="{DFE5E9ED-F7C9-4761-B46D-E21A47C3C06A}" type="sibTrans" cxnId="{30A07C0B-8453-4E95-B34F-AF9084295C4A}">
      <dgm:prSet/>
      <dgm:spPr/>
      <dgm:t>
        <a:bodyPr/>
        <a:lstStyle/>
        <a:p>
          <a:endParaRPr lang="ru-RU"/>
        </a:p>
      </dgm:t>
    </dgm:pt>
    <dgm:pt modelId="{99AAD271-59AC-4AF3-A4C0-8F47110CCD76}">
      <dgm:prSet phldrT="[Текст]" custT="1"/>
      <dgm:spPr/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Arial Narrow" panose="020B0606020202030204" pitchFamily="34" charset="0"/>
            </a:rPr>
            <a:t>Внеплановая</a:t>
          </a:r>
          <a:r>
            <a:rPr lang="ru-RU" sz="1800" b="1" dirty="0" smtClean="0">
              <a:latin typeface="Arial Narrow" panose="020B0606020202030204" pitchFamily="34" charset="0"/>
            </a:rPr>
            <a:t> </a:t>
          </a:r>
          <a:r>
            <a:rPr lang="ru-RU" sz="1800" b="1" dirty="0" smtClean="0">
              <a:solidFill>
                <a:schemeClr val="tx1"/>
              </a:solidFill>
              <a:latin typeface="Arial Narrow" panose="020B0606020202030204" pitchFamily="34" charset="0"/>
            </a:rPr>
            <a:t>проверка</a:t>
          </a:r>
          <a:endParaRPr lang="ru-RU" sz="1800" b="1" dirty="0">
            <a:solidFill>
              <a:schemeClr val="tx1"/>
            </a:solidFill>
            <a:latin typeface="Arial Narrow" panose="020B0606020202030204" pitchFamily="34" charset="0"/>
          </a:endParaRPr>
        </a:p>
      </dgm:t>
    </dgm:pt>
    <dgm:pt modelId="{5F7DB717-F37D-4528-BADC-F146FD4047EC}" type="sibTrans" cxnId="{85665543-B094-4F68-A36E-DE123DC0D902}">
      <dgm:prSet/>
      <dgm:spPr/>
      <dgm:t>
        <a:bodyPr/>
        <a:lstStyle/>
        <a:p>
          <a:endParaRPr lang="ru-RU"/>
        </a:p>
      </dgm:t>
    </dgm:pt>
    <dgm:pt modelId="{7189F47E-202B-43DF-9CFC-C709021060F7}" type="parTrans" cxnId="{85665543-B094-4F68-A36E-DE123DC0D902}">
      <dgm:prSet/>
      <dgm:spPr/>
      <dgm:t>
        <a:bodyPr/>
        <a:lstStyle/>
        <a:p>
          <a:endParaRPr lang="ru-RU"/>
        </a:p>
      </dgm:t>
    </dgm:pt>
    <dgm:pt modelId="{D7168335-D2BE-416C-BA3D-9A4764A02C39}">
      <dgm:prSet phldrT="[Текст]" custT="1"/>
      <dgm:spPr/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Arial Narrow" panose="020B0606020202030204" pitchFamily="34" charset="0"/>
            </a:rPr>
            <a:t>Выявление нарушения при обосновании Н(М)ЦК охранных услуг</a:t>
          </a:r>
          <a:endParaRPr lang="ru-RU" sz="1800" b="1" dirty="0">
            <a:solidFill>
              <a:schemeClr val="tx1"/>
            </a:solidFill>
            <a:latin typeface="Arial Narrow" panose="020B0606020202030204" pitchFamily="34" charset="0"/>
          </a:endParaRPr>
        </a:p>
      </dgm:t>
    </dgm:pt>
    <dgm:pt modelId="{C83EB614-A6E4-4293-A583-A3A0DED0B8D4}" type="parTrans" cxnId="{FB2D7D58-874F-45F0-A0F5-245AC12EB762}">
      <dgm:prSet/>
      <dgm:spPr/>
      <dgm:t>
        <a:bodyPr/>
        <a:lstStyle/>
        <a:p>
          <a:endParaRPr lang="ru-RU"/>
        </a:p>
      </dgm:t>
    </dgm:pt>
    <dgm:pt modelId="{A1F539E0-EC34-439E-B323-F458714B3AB0}" type="sibTrans" cxnId="{FB2D7D58-874F-45F0-A0F5-245AC12EB762}">
      <dgm:prSet/>
      <dgm:spPr/>
      <dgm:t>
        <a:bodyPr/>
        <a:lstStyle/>
        <a:p>
          <a:endParaRPr lang="ru-RU"/>
        </a:p>
      </dgm:t>
    </dgm:pt>
    <dgm:pt modelId="{E2573ABE-4FAA-4D9B-966C-D2CC3E4E0223}" type="pres">
      <dgm:prSet presAssocID="{3FF18487-38E7-418A-A87F-6C6ABCB99F0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9CCDC2F-E2A7-4477-917F-A222369B34C5}" type="pres">
      <dgm:prSet presAssocID="{0C86C73A-F06E-4166-B6EA-160E1BBFD5F6}" presName="parTxOnly" presStyleLbl="node1" presStyleIdx="0" presStyleCnt="4" custLinFactNeighborX="2496" custLinFactNeighborY="-511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00295DB-BCAA-413A-8C56-082EC1E17471}" type="pres">
      <dgm:prSet presAssocID="{98926946-5113-467E-AEBE-2D2B5803671B}" presName="parSpace" presStyleCnt="0"/>
      <dgm:spPr/>
    </dgm:pt>
    <dgm:pt modelId="{F64C1B36-75AD-497B-8F96-4B674C26A00B}" type="pres">
      <dgm:prSet presAssocID="{99AAD271-59AC-4AF3-A4C0-8F47110CCD76}" presName="parTxOnly" presStyleLbl="node1" presStyleIdx="1" presStyleCnt="4" custScaleX="82939" custLinFactNeighborX="10511" custLinFactNeighborY="348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922830-5AE2-452E-9D20-1E73DA20BA7F}" type="pres">
      <dgm:prSet presAssocID="{5F7DB717-F37D-4528-BADC-F146FD4047EC}" presName="parSpace" presStyleCnt="0"/>
      <dgm:spPr/>
    </dgm:pt>
    <dgm:pt modelId="{03BFA8BC-865D-4B32-ACAD-56DABFD0566F}" type="pres">
      <dgm:prSet presAssocID="{D7168335-D2BE-416C-BA3D-9A4764A02C39}" presName="parTxOnly" presStyleLbl="node1" presStyleIdx="2" presStyleCnt="4" custLinFactNeighborX="1536" custLinFactNeighborY="-5214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BF4F93-EA53-44E8-AD7B-D7A1B7B61509}" type="pres">
      <dgm:prSet presAssocID="{A1F539E0-EC34-439E-B323-F458714B3AB0}" presName="parSpace" presStyleCnt="0"/>
      <dgm:spPr/>
    </dgm:pt>
    <dgm:pt modelId="{B2BF10C6-7431-4B56-B97A-508191265756}" type="pres">
      <dgm:prSet presAssocID="{F3208F4A-B2BB-425A-8851-D6AEE731C0B4}" presName="parTxOnly" presStyleLbl="node1" presStyleIdx="3" presStyleCnt="4" custLinFactNeighborY="-511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68F2FD9-B495-4E6E-A548-DDF7B3364966}" type="presOf" srcId="{F3208F4A-B2BB-425A-8851-D6AEE731C0B4}" destId="{B2BF10C6-7431-4B56-B97A-508191265756}" srcOrd="0" destOrd="0" presId="urn:microsoft.com/office/officeart/2005/8/layout/hChevron3"/>
    <dgm:cxn modelId="{30A07C0B-8453-4E95-B34F-AF9084295C4A}" srcId="{3FF18487-38E7-418A-A87F-6C6ABCB99F04}" destId="{F3208F4A-B2BB-425A-8851-D6AEE731C0B4}" srcOrd="3" destOrd="0" parTransId="{B8C579D0-7DEC-42FA-A7F5-0F90169637CF}" sibTransId="{DFE5E9ED-F7C9-4761-B46D-E21A47C3C06A}"/>
    <dgm:cxn modelId="{149A5663-6825-43A6-9889-49DB4A3E0535}" type="presOf" srcId="{99AAD271-59AC-4AF3-A4C0-8F47110CCD76}" destId="{F64C1B36-75AD-497B-8F96-4B674C26A00B}" srcOrd="0" destOrd="0" presId="urn:microsoft.com/office/officeart/2005/8/layout/hChevron3"/>
    <dgm:cxn modelId="{85665543-B094-4F68-A36E-DE123DC0D902}" srcId="{3FF18487-38E7-418A-A87F-6C6ABCB99F04}" destId="{99AAD271-59AC-4AF3-A4C0-8F47110CCD76}" srcOrd="1" destOrd="0" parTransId="{7189F47E-202B-43DF-9CFC-C709021060F7}" sibTransId="{5F7DB717-F37D-4528-BADC-F146FD4047EC}"/>
    <dgm:cxn modelId="{FB2D7D58-874F-45F0-A0F5-245AC12EB762}" srcId="{3FF18487-38E7-418A-A87F-6C6ABCB99F04}" destId="{D7168335-D2BE-416C-BA3D-9A4764A02C39}" srcOrd="2" destOrd="0" parTransId="{C83EB614-A6E4-4293-A583-A3A0DED0B8D4}" sibTransId="{A1F539E0-EC34-439E-B323-F458714B3AB0}"/>
    <dgm:cxn modelId="{3A476463-A089-4634-9A4D-E1FF5B4D19DC}" type="presOf" srcId="{0C86C73A-F06E-4166-B6EA-160E1BBFD5F6}" destId="{D9CCDC2F-E2A7-4477-917F-A222369B34C5}" srcOrd="0" destOrd="0" presId="urn:microsoft.com/office/officeart/2005/8/layout/hChevron3"/>
    <dgm:cxn modelId="{CE5AC8B7-BF6B-40CC-AD8A-29510299B115}" type="presOf" srcId="{D7168335-D2BE-416C-BA3D-9A4764A02C39}" destId="{03BFA8BC-865D-4B32-ACAD-56DABFD0566F}" srcOrd="0" destOrd="0" presId="urn:microsoft.com/office/officeart/2005/8/layout/hChevron3"/>
    <dgm:cxn modelId="{D757969B-0CAB-4347-BCCC-43FCD339C6D2}" type="presOf" srcId="{3FF18487-38E7-418A-A87F-6C6ABCB99F04}" destId="{E2573ABE-4FAA-4D9B-966C-D2CC3E4E0223}" srcOrd="0" destOrd="0" presId="urn:microsoft.com/office/officeart/2005/8/layout/hChevron3"/>
    <dgm:cxn modelId="{0790A1FC-7CFC-47A7-AB72-5963C3D4053E}" srcId="{3FF18487-38E7-418A-A87F-6C6ABCB99F04}" destId="{0C86C73A-F06E-4166-B6EA-160E1BBFD5F6}" srcOrd="0" destOrd="0" parTransId="{EAA46A8E-59E1-4A05-A984-1DCC2BFF07DB}" sibTransId="{98926946-5113-467E-AEBE-2D2B5803671B}"/>
    <dgm:cxn modelId="{66B3625E-C627-497B-B950-6AE9CF60440B}" type="presParOf" srcId="{E2573ABE-4FAA-4D9B-966C-D2CC3E4E0223}" destId="{D9CCDC2F-E2A7-4477-917F-A222369B34C5}" srcOrd="0" destOrd="0" presId="urn:microsoft.com/office/officeart/2005/8/layout/hChevron3"/>
    <dgm:cxn modelId="{49C1B072-6458-417C-A3FB-513EF20D86B1}" type="presParOf" srcId="{E2573ABE-4FAA-4D9B-966C-D2CC3E4E0223}" destId="{E00295DB-BCAA-413A-8C56-082EC1E17471}" srcOrd="1" destOrd="0" presId="urn:microsoft.com/office/officeart/2005/8/layout/hChevron3"/>
    <dgm:cxn modelId="{C3A004C3-71DF-449D-A530-FF735F08218C}" type="presParOf" srcId="{E2573ABE-4FAA-4D9B-966C-D2CC3E4E0223}" destId="{F64C1B36-75AD-497B-8F96-4B674C26A00B}" srcOrd="2" destOrd="0" presId="urn:microsoft.com/office/officeart/2005/8/layout/hChevron3"/>
    <dgm:cxn modelId="{DF10E2B2-4A25-46E8-9BF7-DD036E3A9F91}" type="presParOf" srcId="{E2573ABE-4FAA-4D9B-966C-D2CC3E4E0223}" destId="{21922830-5AE2-452E-9D20-1E73DA20BA7F}" srcOrd="3" destOrd="0" presId="urn:microsoft.com/office/officeart/2005/8/layout/hChevron3"/>
    <dgm:cxn modelId="{1E2F1DE9-F8D5-4DA0-991F-C03E3700D705}" type="presParOf" srcId="{E2573ABE-4FAA-4D9B-966C-D2CC3E4E0223}" destId="{03BFA8BC-865D-4B32-ACAD-56DABFD0566F}" srcOrd="4" destOrd="0" presId="urn:microsoft.com/office/officeart/2005/8/layout/hChevron3"/>
    <dgm:cxn modelId="{E925227B-C865-4405-ADDF-45E9C3D64F25}" type="presParOf" srcId="{E2573ABE-4FAA-4D9B-966C-D2CC3E4E0223}" destId="{FCBF4F93-EA53-44E8-AD7B-D7A1B7B61509}" srcOrd="5" destOrd="0" presId="urn:microsoft.com/office/officeart/2005/8/layout/hChevron3"/>
    <dgm:cxn modelId="{BDC8013B-E001-4A34-A751-E24FCCE16449}" type="presParOf" srcId="{E2573ABE-4FAA-4D9B-966C-D2CC3E4E0223}" destId="{B2BF10C6-7431-4B56-B97A-508191265756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CCDC2F-E2A7-4477-917F-A222369B34C5}">
      <dsp:nvSpPr>
        <dsp:cNvPr id="0" name=""/>
        <dsp:cNvSpPr/>
      </dsp:nvSpPr>
      <dsp:spPr>
        <a:xfrm>
          <a:off x="19715" y="0"/>
          <a:ext cx="3624882" cy="1092200"/>
        </a:xfrm>
        <a:prstGeom prst="homePlate">
          <a:avLst/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800" b="1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Жалоба</a:t>
          </a:r>
          <a:r>
            <a:rPr lang="en-US" sz="1800" b="1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/</a:t>
          </a:r>
          <a:r>
            <a:rPr lang="ru-RU" sz="1800" b="1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обращение в управление финансов Липецкой области</a:t>
          </a:r>
          <a:endParaRPr lang="ru-RU" sz="1800" b="1" kern="1200" dirty="0">
            <a:solidFill>
              <a:schemeClr val="tx1"/>
            </a:solidFill>
            <a:latin typeface="Arial Narrow" panose="020B0606020202030204" pitchFamily="34" charset="0"/>
          </a:endParaRPr>
        </a:p>
      </dsp:txBody>
      <dsp:txXfrm>
        <a:off x="19715" y="0"/>
        <a:ext cx="3351832" cy="1092200"/>
      </dsp:txXfrm>
    </dsp:sp>
    <dsp:sp modelId="{F64C1B36-75AD-497B-8F96-4B674C26A00B}">
      <dsp:nvSpPr>
        <dsp:cNvPr id="0" name=""/>
        <dsp:cNvSpPr/>
      </dsp:nvSpPr>
      <dsp:spPr>
        <a:xfrm>
          <a:off x="2977728" y="0"/>
          <a:ext cx="3006441" cy="1092200"/>
        </a:xfrm>
        <a:prstGeom prst="chevron">
          <a:avLst/>
        </a:prstGeom>
        <a:solidFill>
          <a:schemeClr val="accent3">
            <a:shade val="80000"/>
            <a:hueOff val="0"/>
            <a:satOff val="0"/>
            <a:lumOff val="636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Внеплановая</a:t>
          </a:r>
          <a:r>
            <a:rPr lang="ru-RU" sz="1800" b="1" kern="1200" dirty="0" smtClean="0">
              <a:latin typeface="Arial Narrow" panose="020B0606020202030204" pitchFamily="34" charset="0"/>
            </a:rPr>
            <a:t> </a:t>
          </a:r>
          <a:r>
            <a:rPr lang="ru-RU" sz="1800" b="1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проверка</a:t>
          </a:r>
          <a:endParaRPr lang="ru-RU" sz="1800" b="1" kern="1200" dirty="0">
            <a:solidFill>
              <a:schemeClr val="tx1"/>
            </a:solidFill>
            <a:latin typeface="Arial Narrow" panose="020B0606020202030204" pitchFamily="34" charset="0"/>
          </a:endParaRPr>
        </a:p>
      </dsp:txBody>
      <dsp:txXfrm>
        <a:off x="3523828" y="0"/>
        <a:ext cx="1914241" cy="1092200"/>
      </dsp:txXfrm>
    </dsp:sp>
    <dsp:sp modelId="{03BFA8BC-865D-4B32-ACAD-56DABFD0566F}">
      <dsp:nvSpPr>
        <dsp:cNvPr id="0" name=""/>
        <dsp:cNvSpPr/>
      </dsp:nvSpPr>
      <dsp:spPr>
        <a:xfrm>
          <a:off x="5194126" y="0"/>
          <a:ext cx="3624882" cy="1092200"/>
        </a:xfrm>
        <a:prstGeom prst="chevron">
          <a:avLst/>
        </a:prstGeom>
        <a:solidFill>
          <a:schemeClr val="accent3">
            <a:shade val="80000"/>
            <a:hueOff val="0"/>
            <a:satOff val="0"/>
            <a:lumOff val="127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Выявление нарушения при обосновании Н(М)ЦК охранных услуг</a:t>
          </a:r>
          <a:endParaRPr lang="ru-RU" sz="1800" b="1" kern="1200" dirty="0">
            <a:solidFill>
              <a:schemeClr val="tx1"/>
            </a:solidFill>
            <a:latin typeface="Arial Narrow" panose="020B0606020202030204" pitchFamily="34" charset="0"/>
          </a:endParaRPr>
        </a:p>
      </dsp:txBody>
      <dsp:txXfrm>
        <a:off x="5740226" y="0"/>
        <a:ext cx="2532682" cy="1092200"/>
      </dsp:txXfrm>
    </dsp:sp>
    <dsp:sp modelId="{B2BF10C6-7431-4B56-B97A-508191265756}">
      <dsp:nvSpPr>
        <dsp:cNvPr id="0" name=""/>
        <dsp:cNvSpPr/>
      </dsp:nvSpPr>
      <dsp:spPr>
        <a:xfrm>
          <a:off x="8082896" y="0"/>
          <a:ext cx="3624882" cy="1092200"/>
        </a:xfrm>
        <a:prstGeom prst="chevron">
          <a:avLst/>
        </a:prstGeom>
        <a:solidFill>
          <a:schemeClr val="accent3">
            <a:shade val="80000"/>
            <a:hueOff val="0"/>
            <a:satOff val="0"/>
            <a:lumOff val="190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Административное</a:t>
          </a:r>
          <a:r>
            <a:rPr lang="ru-RU" sz="1400" b="1" kern="1200" dirty="0" smtClean="0">
              <a:latin typeface="Arial Narrow" panose="020B0606020202030204" pitchFamily="34" charset="0"/>
            </a:rPr>
            <a:t> </a:t>
          </a:r>
          <a:r>
            <a:rPr lang="ru-RU" sz="1800" b="1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производство</a:t>
          </a:r>
          <a:endParaRPr lang="ru-RU" sz="1400" b="1" kern="1200" dirty="0">
            <a:solidFill>
              <a:schemeClr val="tx1"/>
            </a:solidFill>
            <a:latin typeface="Arial Narrow" panose="020B0606020202030204" pitchFamily="34" charset="0"/>
          </a:endParaRPr>
        </a:p>
      </dsp:txBody>
      <dsp:txXfrm>
        <a:off x="8628996" y="0"/>
        <a:ext cx="2532682" cy="10922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0" y="6"/>
            <a:ext cx="4279846" cy="339723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592094" y="6"/>
            <a:ext cx="4279846" cy="339723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r">
              <a:defRPr sz="1200"/>
            </a:lvl1pPr>
          </a:lstStyle>
          <a:p>
            <a:fld id="{BC203BD9-EB2E-4F57-962B-E469779CEFB7}" type="datetimeFigureOut">
              <a:rPr lang="ru-RU" smtClean="0"/>
              <a:pPr/>
              <a:t>06.09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0" y="6456873"/>
            <a:ext cx="4279846" cy="339722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592094" y="6456873"/>
            <a:ext cx="4279846" cy="339722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r">
              <a:defRPr sz="1200"/>
            </a:lvl1pPr>
          </a:lstStyle>
          <a:p>
            <a:fld id="{95D033D4-957B-4589-849F-05AC02CD5F4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97871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9"/>
            <a:ext cx="4278842" cy="341351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593133" y="9"/>
            <a:ext cx="4278842" cy="341351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F87A0A6-D1A9-4AA0-9020-20FDE50DC583}" type="datetimeFigureOut">
              <a:rPr lang="ru-RU"/>
              <a:pPr>
                <a:defRPr/>
              </a:pPr>
              <a:t>06.09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898775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3" rIns="91425" bIns="45713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87426" y="3271112"/>
            <a:ext cx="7899400" cy="2676455"/>
          </a:xfrm>
          <a:prstGeom prst="rect">
            <a:avLst/>
          </a:prstGeom>
        </p:spPr>
        <p:txBody>
          <a:bodyPr vert="horz" lIns="91425" tIns="45713" rIns="91425" bIns="45713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6456332"/>
            <a:ext cx="4278842" cy="341351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593133" y="6456332"/>
            <a:ext cx="4278842" cy="341351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B76B9CF-F16D-4F89-B690-46B4E292A9F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9426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F0502F-5A19-4154-B9EA-D65F24C5A346}" type="datetimeFigureOut">
              <a:rPr lang="ru-RU"/>
              <a:pPr>
                <a:defRPr/>
              </a:pPr>
              <a:t>06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BA3511-E135-452F-B790-0AC3D884B8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10418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A58BD7-CA50-466D-B44E-2AF394EAAC9F}" type="datetimeFigureOut">
              <a:rPr lang="ru-RU"/>
              <a:pPr>
                <a:defRPr/>
              </a:pPr>
              <a:t>06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F43AA5-5F6B-4F71-9E80-80273C1DB21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87958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44B568-A579-4F3C-8B2C-E742F2DBCCD9}" type="datetimeFigureOut">
              <a:rPr lang="ru-RU"/>
              <a:pPr>
                <a:defRPr/>
              </a:pPr>
              <a:t>06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BB2ECB-41F2-46B4-A2D0-0CD3A91E801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22330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5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9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Прямая соединительная линия 4"/>
          <p:cNvCxnSpPr/>
          <p:nvPr userDrawn="1"/>
        </p:nvCxnSpPr>
        <p:spPr>
          <a:xfrm>
            <a:off x="0" y="552450"/>
            <a:ext cx="12199938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 userDrawn="1"/>
        </p:nvGrpSpPr>
        <p:grpSpPr>
          <a:xfrm>
            <a:off x="10420004" y="103661"/>
            <a:ext cx="1682560" cy="394220"/>
            <a:chOff x="8014653" y="219761"/>
            <a:chExt cx="1033002" cy="204973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8014653" y="268599"/>
              <a:ext cx="209412" cy="156135"/>
            </a:xfrm>
            <a:custGeom>
              <a:avLst/>
              <a:gdLst>
                <a:gd name="T0" fmla="*/ 959 w 1043"/>
                <a:gd name="T1" fmla="*/ 0 h 775"/>
                <a:gd name="T2" fmla="*/ 892 w 1043"/>
                <a:gd name="T3" fmla="*/ 556 h 775"/>
                <a:gd name="T4" fmla="*/ 324 w 1043"/>
                <a:gd name="T5" fmla="*/ 693 h 775"/>
                <a:gd name="T6" fmla="*/ 10 w 1043"/>
                <a:gd name="T7" fmla="*/ 197 h 775"/>
                <a:gd name="T8" fmla="*/ 64 w 1043"/>
                <a:gd name="T9" fmla="*/ 225 h 775"/>
                <a:gd name="T10" fmla="*/ 296 w 1043"/>
                <a:gd name="T11" fmla="*/ 359 h 775"/>
                <a:gd name="T12" fmla="*/ 334 w 1043"/>
                <a:gd name="T13" fmla="*/ 359 h 775"/>
                <a:gd name="T14" fmla="*/ 771 w 1043"/>
                <a:gd name="T15" fmla="*/ 107 h 775"/>
                <a:gd name="T16" fmla="*/ 959 w 1043"/>
                <a:gd name="T17" fmla="*/ 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3" h="775">
                  <a:moveTo>
                    <a:pt x="959" y="0"/>
                  </a:moveTo>
                  <a:cubicBezTo>
                    <a:pt x="1043" y="154"/>
                    <a:pt x="1037" y="391"/>
                    <a:pt x="892" y="556"/>
                  </a:cubicBezTo>
                  <a:cubicBezTo>
                    <a:pt x="749" y="719"/>
                    <a:pt x="528" y="775"/>
                    <a:pt x="324" y="693"/>
                  </a:cubicBezTo>
                  <a:cubicBezTo>
                    <a:pt x="120" y="611"/>
                    <a:pt x="0" y="417"/>
                    <a:pt x="10" y="197"/>
                  </a:cubicBezTo>
                  <a:cubicBezTo>
                    <a:pt x="29" y="207"/>
                    <a:pt x="47" y="215"/>
                    <a:pt x="64" y="225"/>
                  </a:cubicBezTo>
                  <a:cubicBezTo>
                    <a:pt x="141" y="270"/>
                    <a:pt x="219" y="314"/>
                    <a:pt x="296" y="359"/>
                  </a:cubicBezTo>
                  <a:cubicBezTo>
                    <a:pt x="310" y="368"/>
                    <a:pt x="320" y="367"/>
                    <a:pt x="334" y="359"/>
                  </a:cubicBezTo>
                  <a:cubicBezTo>
                    <a:pt x="479" y="275"/>
                    <a:pt x="625" y="191"/>
                    <a:pt x="771" y="107"/>
                  </a:cubicBezTo>
                  <a:cubicBezTo>
                    <a:pt x="833" y="72"/>
                    <a:pt x="895" y="36"/>
                    <a:pt x="9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8278823" y="378855"/>
              <a:ext cx="768832" cy="9620"/>
            </a:xfrm>
            <a:custGeom>
              <a:avLst/>
              <a:gdLst>
                <a:gd name="T0" fmla="*/ 0 w 3824"/>
                <a:gd name="T1" fmla="*/ 49 h 49"/>
                <a:gd name="T2" fmla="*/ 0 w 3824"/>
                <a:gd name="T3" fmla="*/ 0 h 49"/>
                <a:gd name="T4" fmla="*/ 3824 w 3824"/>
                <a:gd name="T5" fmla="*/ 0 h 49"/>
                <a:gd name="T6" fmla="*/ 3824 w 3824"/>
                <a:gd name="T7" fmla="*/ 49 h 49"/>
                <a:gd name="T8" fmla="*/ 0 w 382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4" h="49">
                  <a:moveTo>
                    <a:pt x="0" y="49"/>
                  </a:moveTo>
                  <a:cubicBezTo>
                    <a:pt x="0" y="32"/>
                    <a:pt x="0" y="17"/>
                    <a:pt x="0" y="0"/>
                  </a:cubicBezTo>
                  <a:cubicBezTo>
                    <a:pt x="1275" y="0"/>
                    <a:pt x="2549" y="0"/>
                    <a:pt x="3824" y="0"/>
                  </a:cubicBezTo>
                  <a:cubicBezTo>
                    <a:pt x="3824" y="17"/>
                    <a:pt x="3824" y="32"/>
                    <a:pt x="3824" y="49"/>
                  </a:cubicBezTo>
                  <a:cubicBezTo>
                    <a:pt x="2550" y="49"/>
                    <a:pt x="1276" y="49"/>
                    <a:pt x="0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8836023" y="247880"/>
              <a:ext cx="97676" cy="103596"/>
            </a:xfrm>
            <a:custGeom>
              <a:avLst/>
              <a:gdLst>
                <a:gd name="T0" fmla="*/ 479 w 486"/>
                <a:gd name="T1" fmla="*/ 514 h 514"/>
                <a:gd name="T2" fmla="*/ 315 w 486"/>
                <a:gd name="T3" fmla="*/ 514 h 514"/>
                <a:gd name="T4" fmla="*/ 314 w 486"/>
                <a:gd name="T5" fmla="*/ 507 h 514"/>
                <a:gd name="T6" fmla="*/ 345 w 486"/>
                <a:gd name="T7" fmla="*/ 433 h 514"/>
                <a:gd name="T8" fmla="*/ 345 w 486"/>
                <a:gd name="T9" fmla="*/ 251 h 514"/>
                <a:gd name="T10" fmla="*/ 140 w 486"/>
                <a:gd name="T11" fmla="*/ 251 h 514"/>
                <a:gd name="T12" fmla="*/ 140 w 486"/>
                <a:gd name="T13" fmla="*/ 311 h 514"/>
                <a:gd name="T14" fmla="*/ 140 w 486"/>
                <a:gd name="T15" fmla="*/ 439 h 514"/>
                <a:gd name="T16" fmla="*/ 170 w 486"/>
                <a:gd name="T17" fmla="*/ 513 h 514"/>
                <a:gd name="T18" fmla="*/ 0 w 486"/>
                <a:gd name="T19" fmla="*/ 513 h 514"/>
                <a:gd name="T20" fmla="*/ 28 w 486"/>
                <a:gd name="T21" fmla="*/ 431 h 514"/>
                <a:gd name="T22" fmla="*/ 29 w 486"/>
                <a:gd name="T23" fmla="*/ 63 h 514"/>
                <a:gd name="T24" fmla="*/ 1 w 486"/>
                <a:gd name="T25" fmla="*/ 10 h 514"/>
                <a:gd name="T26" fmla="*/ 0 w 486"/>
                <a:gd name="T27" fmla="*/ 0 h 514"/>
                <a:gd name="T28" fmla="*/ 167 w 486"/>
                <a:gd name="T29" fmla="*/ 0 h 514"/>
                <a:gd name="T30" fmla="*/ 168 w 486"/>
                <a:gd name="T31" fmla="*/ 7 h 514"/>
                <a:gd name="T32" fmla="*/ 140 w 486"/>
                <a:gd name="T33" fmla="*/ 73 h 514"/>
                <a:gd name="T34" fmla="*/ 140 w 486"/>
                <a:gd name="T35" fmla="*/ 217 h 514"/>
                <a:gd name="T36" fmla="*/ 331 w 486"/>
                <a:gd name="T37" fmla="*/ 216 h 514"/>
                <a:gd name="T38" fmla="*/ 344 w 486"/>
                <a:gd name="T39" fmla="*/ 198 h 514"/>
                <a:gd name="T40" fmla="*/ 344 w 486"/>
                <a:gd name="T41" fmla="*/ 51 h 514"/>
                <a:gd name="T42" fmla="*/ 323 w 486"/>
                <a:gd name="T43" fmla="*/ 15 h 514"/>
                <a:gd name="T44" fmla="*/ 306 w 486"/>
                <a:gd name="T45" fmla="*/ 0 h 514"/>
                <a:gd name="T46" fmla="*/ 486 w 486"/>
                <a:gd name="T47" fmla="*/ 0 h 514"/>
                <a:gd name="T48" fmla="*/ 476 w 486"/>
                <a:gd name="T49" fmla="*/ 13 h 514"/>
                <a:gd name="T50" fmla="*/ 452 w 486"/>
                <a:gd name="T51" fmla="*/ 56 h 514"/>
                <a:gd name="T52" fmla="*/ 453 w 486"/>
                <a:gd name="T53" fmla="*/ 459 h 514"/>
                <a:gd name="T54" fmla="*/ 479 w 486"/>
                <a:gd name="T55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6" h="514">
                  <a:moveTo>
                    <a:pt x="479" y="514"/>
                  </a:moveTo>
                  <a:cubicBezTo>
                    <a:pt x="426" y="514"/>
                    <a:pt x="370" y="514"/>
                    <a:pt x="315" y="514"/>
                  </a:cubicBezTo>
                  <a:cubicBezTo>
                    <a:pt x="314" y="511"/>
                    <a:pt x="313" y="508"/>
                    <a:pt x="314" y="507"/>
                  </a:cubicBezTo>
                  <a:cubicBezTo>
                    <a:pt x="346" y="492"/>
                    <a:pt x="345" y="463"/>
                    <a:pt x="345" y="433"/>
                  </a:cubicBezTo>
                  <a:cubicBezTo>
                    <a:pt x="344" y="373"/>
                    <a:pt x="345" y="313"/>
                    <a:pt x="345" y="251"/>
                  </a:cubicBezTo>
                  <a:cubicBezTo>
                    <a:pt x="276" y="251"/>
                    <a:pt x="210" y="251"/>
                    <a:pt x="140" y="251"/>
                  </a:cubicBezTo>
                  <a:cubicBezTo>
                    <a:pt x="140" y="271"/>
                    <a:pt x="140" y="291"/>
                    <a:pt x="140" y="311"/>
                  </a:cubicBezTo>
                  <a:cubicBezTo>
                    <a:pt x="140" y="354"/>
                    <a:pt x="140" y="397"/>
                    <a:pt x="140" y="439"/>
                  </a:cubicBezTo>
                  <a:cubicBezTo>
                    <a:pt x="140" y="479"/>
                    <a:pt x="140" y="479"/>
                    <a:pt x="170" y="513"/>
                  </a:cubicBezTo>
                  <a:cubicBezTo>
                    <a:pt x="112" y="513"/>
                    <a:pt x="56" y="513"/>
                    <a:pt x="0" y="513"/>
                  </a:cubicBezTo>
                  <a:cubicBezTo>
                    <a:pt x="39" y="494"/>
                    <a:pt x="28" y="460"/>
                    <a:pt x="28" y="431"/>
                  </a:cubicBezTo>
                  <a:cubicBezTo>
                    <a:pt x="28" y="308"/>
                    <a:pt x="28" y="185"/>
                    <a:pt x="29" y="63"/>
                  </a:cubicBezTo>
                  <a:cubicBezTo>
                    <a:pt x="29" y="39"/>
                    <a:pt x="29" y="18"/>
                    <a:pt x="1" y="10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56" y="0"/>
                    <a:pt x="112" y="0"/>
                    <a:pt x="167" y="0"/>
                  </a:cubicBezTo>
                  <a:cubicBezTo>
                    <a:pt x="168" y="4"/>
                    <a:pt x="168" y="7"/>
                    <a:pt x="168" y="7"/>
                  </a:cubicBezTo>
                  <a:cubicBezTo>
                    <a:pt x="135" y="19"/>
                    <a:pt x="139" y="47"/>
                    <a:pt x="140" y="73"/>
                  </a:cubicBezTo>
                  <a:cubicBezTo>
                    <a:pt x="140" y="120"/>
                    <a:pt x="140" y="167"/>
                    <a:pt x="140" y="217"/>
                  </a:cubicBezTo>
                  <a:cubicBezTo>
                    <a:pt x="205" y="217"/>
                    <a:pt x="268" y="217"/>
                    <a:pt x="331" y="216"/>
                  </a:cubicBezTo>
                  <a:cubicBezTo>
                    <a:pt x="336" y="216"/>
                    <a:pt x="344" y="204"/>
                    <a:pt x="344" y="198"/>
                  </a:cubicBezTo>
                  <a:cubicBezTo>
                    <a:pt x="345" y="149"/>
                    <a:pt x="346" y="100"/>
                    <a:pt x="344" y="51"/>
                  </a:cubicBezTo>
                  <a:cubicBezTo>
                    <a:pt x="343" y="39"/>
                    <a:pt x="330" y="27"/>
                    <a:pt x="323" y="15"/>
                  </a:cubicBezTo>
                  <a:cubicBezTo>
                    <a:pt x="320" y="11"/>
                    <a:pt x="315" y="8"/>
                    <a:pt x="306" y="0"/>
                  </a:cubicBezTo>
                  <a:cubicBezTo>
                    <a:pt x="370" y="0"/>
                    <a:pt x="426" y="0"/>
                    <a:pt x="486" y="0"/>
                  </a:cubicBezTo>
                  <a:cubicBezTo>
                    <a:pt x="482" y="6"/>
                    <a:pt x="480" y="12"/>
                    <a:pt x="476" y="13"/>
                  </a:cubicBezTo>
                  <a:cubicBezTo>
                    <a:pt x="456" y="21"/>
                    <a:pt x="452" y="37"/>
                    <a:pt x="452" y="56"/>
                  </a:cubicBezTo>
                  <a:cubicBezTo>
                    <a:pt x="452" y="190"/>
                    <a:pt x="451" y="325"/>
                    <a:pt x="453" y="459"/>
                  </a:cubicBezTo>
                  <a:cubicBezTo>
                    <a:pt x="453" y="477"/>
                    <a:pt x="469" y="494"/>
                    <a:pt x="479" y="5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8639930" y="247880"/>
              <a:ext cx="86577" cy="104337"/>
            </a:xfrm>
            <a:custGeom>
              <a:avLst/>
              <a:gdLst>
                <a:gd name="T0" fmla="*/ 0 w 434"/>
                <a:gd name="T1" fmla="*/ 508 h 519"/>
                <a:gd name="T2" fmla="*/ 33 w 434"/>
                <a:gd name="T3" fmla="*/ 434 h 519"/>
                <a:gd name="T4" fmla="*/ 34 w 434"/>
                <a:gd name="T5" fmla="*/ 55 h 519"/>
                <a:gd name="T6" fmla="*/ 9 w 434"/>
                <a:gd name="T7" fmla="*/ 12 h 519"/>
                <a:gd name="T8" fmla="*/ 3 w 434"/>
                <a:gd name="T9" fmla="*/ 0 h 519"/>
                <a:gd name="T10" fmla="*/ 391 w 434"/>
                <a:gd name="T11" fmla="*/ 0 h 519"/>
                <a:gd name="T12" fmla="*/ 391 w 434"/>
                <a:gd name="T13" fmla="*/ 107 h 519"/>
                <a:gd name="T14" fmla="*/ 359 w 434"/>
                <a:gd name="T15" fmla="*/ 89 h 519"/>
                <a:gd name="T16" fmla="*/ 274 w 434"/>
                <a:gd name="T17" fmla="*/ 29 h 519"/>
                <a:gd name="T18" fmla="*/ 178 w 434"/>
                <a:gd name="T19" fmla="*/ 29 h 519"/>
                <a:gd name="T20" fmla="*/ 145 w 434"/>
                <a:gd name="T21" fmla="*/ 60 h 519"/>
                <a:gd name="T22" fmla="*/ 145 w 434"/>
                <a:gd name="T23" fmla="*/ 175 h 519"/>
                <a:gd name="T24" fmla="*/ 148 w 434"/>
                <a:gd name="T25" fmla="*/ 182 h 519"/>
                <a:gd name="T26" fmla="*/ 275 w 434"/>
                <a:gd name="T27" fmla="*/ 190 h 519"/>
                <a:gd name="T28" fmla="*/ 399 w 434"/>
                <a:gd name="T29" fmla="*/ 255 h 519"/>
                <a:gd name="T30" fmla="*/ 354 w 434"/>
                <a:gd name="T31" fmla="*/ 489 h 519"/>
                <a:gd name="T32" fmla="*/ 258 w 434"/>
                <a:gd name="T33" fmla="*/ 515 h 519"/>
                <a:gd name="T34" fmla="*/ 18 w 434"/>
                <a:gd name="T35" fmla="*/ 516 h 519"/>
                <a:gd name="T36" fmla="*/ 6 w 434"/>
                <a:gd name="T37" fmla="*/ 514 h 519"/>
                <a:gd name="T38" fmla="*/ 0 w 434"/>
                <a:gd name="T39" fmla="*/ 508 h 519"/>
                <a:gd name="T40" fmla="*/ 145 w 434"/>
                <a:gd name="T41" fmla="*/ 210 h 519"/>
                <a:gd name="T42" fmla="*/ 145 w 434"/>
                <a:gd name="T43" fmla="*/ 410 h 519"/>
                <a:gd name="T44" fmla="*/ 225 w 434"/>
                <a:gd name="T45" fmla="*/ 485 h 519"/>
                <a:gd name="T46" fmla="*/ 287 w 434"/>
                <a:gd name="T47" fmla="*/ 442 h 519"/>
                <a:gd name="T48" fmla="*/ 296 w 434"/>
                <a:gd name="T49" fmla="*/ 281 h 519"/>
                <a:gd name="T50" fmla="*/ 245 w 434"/>
                <a:gd name="T51" fmla="*/ 224 h 519"/>
                <a:gd name="T52" fmla="*/ 145 w 434"/>
                <a:gd name="T53" fmla="*/ 21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519">
                  <a:moveTo>
                    <a:pt x="0" y="508"/>
                  </a:moveTo>
                  <a:cubicBezTo>
                    <a:pt x="44" y="495"/>
                    <a:pt x="33" y="462"/>
                    <a:pt x="33" y="434"/>
                  </a:cubicBezTo>
                  <a:cubicBezTo>
                    <a:pt x="34" y="307"/>
                    <a:pt x="33" y="181"/>
                    <a:pt x="34" y="55"/>
                  </a:cubicBezTo>
                  <a:cubicBezTo>
                    <a:pt x="34" y="35"/>
                    <a:pt x="33" y="17"/>
                    <a:pt x="9" y="12"/>
                  </a:cubicBezTo>
                  <a:cubicBezTo>
                    <a:pt x="7" y="11"/>
                    <a:pt x="6" y="6"/>
                    <a:pt x="3" y="0"/>
                  </a:cubicBezTo>
                  <a:cubicBezTo>
                    <a:pt x="134" y="0"/>
                    <a:pt x="262" y="0"/>
                    <a:pt x="391" y="0"/>
                  </a:cubicBezTo>
                  <a:cubicBezTo>
                    <a:pt x="391" y="35"/>
                    <a:pt x="391" y="71"/>
                    <a:pt x="391" y="107"/>
                  </a:cubicBezTo>
                  <a:cubicBezTo>
                    <a:pt x="373" y="114"/>
                    <a:pt x="365" y="107"/>
                    <a:pt x="359" y="89"/>
                  </a:cubicBezTo>
                  <a:cubicBezTo>
                    <a:pt x="340" y="36"/>
                    <a:pt x="330" y="29"/>
                    <a:pt x="274" y="29"/>
                  </a:cubicBezTo>
                  <a:cubicBezTo>
                    <a:pt x="242" y="29"/>
                    <a:pt x="210" y="30"/>
                    <a:pt x="178" y="29"/>
                  </a:cubicBezTo>
                  <a:cubicBezTo>
                    <a:pt x="156" y="29"/>
                    <a:pt x="145" y="37"/>
                    <a:pt x="145" y="60"/>
                  </a:cubicBezTo>
                  <a:cubicBezTo>
                    <a:pt x="145" y="98"/>
                    <a:pt x="145" y="137"/>
                    <a:pt x="145" y="175"/>
                  </a:cubicBezTo>
                  <a:cubicBezTo>
                    <a:pt x="145" y="177"/>
                    <a:pt x="147" y="180"/>
                    <a:pt x="148" y="182"/>
                  </a:cubicBezTo>
                  <a:cubicBezTo>
                    <a:pt x="190" y="185"/>
                    <a:pt x="233" y="185"/>
                    <a:pt x="275" y="190"/>
                  </a:cubicBezTo>
                  <a:cubicBezTo>
                    <a:pt x="324" y="195"/>
                    <a:pt x="372" y="208"/>
                    <a:pt x="399" y="255"/>
                  </a:cubicBezTo>
                  <a:cubicBezTo>
                    <a:pt x="434" y="315"/>
                    <a:pt x="429" y="452"/>
                    <a:pt x="354" y="489"/>
                  </a:cubicBezTo>
                  <a:cubicBezTo>
                    <a:pt x="325" y="503"/>
                    <a:pt x="291" y="514"/>
                    <a:pt x="258" y="515"/>
                  </a:cubicBezTo>
                  <a:cubicBezTo>
                    <a:pt x="179" y="519"/>
                    <a:pt x="98" y="516"/>
                    <a:pt x="18" y="516"/>
                  </a:cubicBezTo>
                  <a:cubicBezTo>
                    <a:pt x="14" y="516"/>
                    <a:pt x="10" y="515"/>
                    <a:pt x="6" y="514"/>
                  </a:cubicBezTo>
                  <a:cubicBezTo>
                    <a:pt x="4" y="512"/>
                    <a:pt x="2" y="510"/>
                    <a:pt x="0" y="508"/>
                  </a:cubicBezTo>
                  <a:close/>
                  <a:moveTo>
                    <a:pt x="145" y="210"/>
                  </a:moveTo>
                  <a:cubicBezTo>
                    <a:pt x="145" y="282"/>
                    <a:pt x="145" y="346"/>
                    <a:pt x="145" y="410"/>
                  </a:cubicBezTo>
                  <a:cubicBezTo>
                    <a:pt x="145" y="486"/>
                    <a:pt x="149" y="490"/>
                    <a:pt x="225" y="485"/>
                  </a:cubicBezTo>
                  <a:cubicBezTo>
                    <a:pt x="254" y="483"/>
                    <a:pt x="275" y="469"/>
                    <a:pt x="287" y="442"/>
                  </a:cubicBezTo>
                  <a:cubicBezTo>
                    <a:pt x="310" y="389"/>
                    <a:pt x="309" y="335"/>
                    <a:pt x="296" y="281"/>
                  </a:cubicBezTo>
                  <a:cubicBezTo>
                    <a:pt x="290" y="255"/>
                    <a:pt x="272" y="231"/>
                    <a:pt x="245" y="224"/>
                  </a:cubicBezTo>
                  <a:cubicBezTo>
                    <a:pt x="214" y="217"/>
                    <a:pt x="181" y="215"/>
                    <a:pt x="145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8365400" y="247880"/>
              <a:ext cx="84357" cy="105076"/>
            </a:xfrm>
            <a:custGeom>
              <a:avLst/>
              <a:gdLst>
                <a:gd name="T0" fmla="*/ 0 w 418"/>
                <a:gd name="T1" fmla="*/ 510 h 521"/>
                <a:gd name="T2" fmla="*/ 32 w 418"/>
                <a:gd name="T3" fmla="*/ 421 h 521"/>
                <a:gd name="T4" fmla="*/ 32 w 418"/>
                <a:gd name="T5" fmla="*/ 63 h 521"/>
                <a:gd name="T6" fmla="*/ 7 w 418"/>
                <a:gd name="T7" fmla="*/ 12 h 521"/>
                <a:gd name="T8" fmla="*/ 5 w 418"/>
                <a:gd name="T9" fmla="*/ 0 h 521"/>
                <a:gd name="T10" fmla="*/ 388 w 418"/>
                <a:gd name="T11" fmla="*/ 0 h 521"/>
                <a:gd name="T12" fmla="*/ 388 w 418"/>
                <a:gd name="T13" fmla="*/ 108 h 521"/>
                <a:gd name="T14" fmla="*/ 357 w 418"/>
                <a:gd name="T15" fmla="*/ 89 h 521"/>
                <a:gd name="T16" fmla="*/ 278 w 418"/>
                <a:gd name="T17" fmla="*/ 30 h 521"/>
                <a:gd name="T18" fmla="*/ 171 w 418"/>
                <a:gd name="T19" fmla="*/ 30 h 521"/>
                <a:gd name="T20" fmla="*/ 144 w 418"/>
                <a:gd name="T21" fmla="*/ 55 h 521"/>
                <a:gd name="T22" fmla="*/ 144 w 418"/>
                <a:gd name="T23" fmla="*/ 186 h 521"/>
                <a:gd name="T24" fmla="*/ 225 w 418"/>
                <a:gd name="T25" fmla="*/ 186 h 521"/>
                <a:gd name="T26" fmla="*/ 329 w 418"/>
                <a:gd name="T27" fmla="*/ 204 h 521"/>
                <a:gd name="T28" fmla="*/ 415 w 418"/>
                <a:gd name="T29" fmla="*/ 313 h 521"/>
                <a:gd name="T30" fmla="*/ 411 w 418"/>
                <a:gd name="T31" fmla="*/ 400 h 521"/>
                <a:gd name="T32" fmla="*/ 306 w 418"/>
                <a:gd name="T33" fmla="*/ 508 h 521"/>
                <a:gd name="T34" fmla="*/ 7 w 418"/>
                <a:gd name="T35" fmla="*/ 521 h 521"/>
                <a:gd name="T36" fmla="*/ 0 w 418"/>
                <a:gd name="T37" fmla="*/ 510 h 521"/>
                <a:gd name="T38" fmla="*/ 144 w 418"/>
                <a:gd name="T39" fmla="*/ 212 h 521"/>
                <a:gd name="T40" fmla="*/ 144 w 418"/>
                <a:gd name="T41" fmla="*/ 414 h 521"/>
                <a:gd name="T42" fmla="*/ 216 w 418"/>
                <a:gd name="T43" fmla="*/ 486 h 521"/>
                <a:gd name="T44" fmla="*/ 291 w 418"/>
                <a:gd name="T45" fmla="*/ 430 h 521"/>
                <a:gd name="T46" fmla="*/ 293 w 418"/>
                <a:gd name="T47" fmla="*/ 282 h 521"/>
                <a:gd name="T48" fmla="*/ 243 w 418"/>
                <a:gd name="T49" fmla="*/ 225 h 521"/>
                <a:gd name="T50" fmla="*/ 144 w 418"/>
                <a:gd name="T51" fmla="*/ 212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8" h="521">
                  <a:moveTo>
                    <a:pt x="0" y="510"/>
                  </a:moveTo>
                  <a:cubicBezTo>
                    <a:pt x="47" y="491"/>
                    <a:pt x="31" y="453"/>
                    <a:pt x="32" y="421"/>
                  </a:cubicBezTo>
                  <a:cubicBezTo>
                    <a:pt x="33" y="302"/>
                    <a:pt x="32" y="182"/>
                    <a:pt x="32" y="63"/>
                  </a:cubicBezTo>
                  <a:cubicBezTo>
                    <a:pt x="32" y="42"/>
                    <a:pt x="34" y="20"/>
                    <a:pt x="7" y="12"/>
                  </a:cubicBezTo>
                  <a:cubicBezTo>
                    <a:pt x="6" y="11"/>
                    <a:pt x="6" y="5"/>
                    <a:pt x="5" y="0"/>
                  </a:cubicBezTo>
                  <a:cubicBezTo>
                    <a:pt x="133" y="0"/>
                    <a:pt x="259" y="0"/>
                    <a:pt x="388" y="0"/>
                  </a:cubicBezTo>
                  <a:cubicBezTo>
                    <a:pt x="388" y="36"/>
                    <a:pt x="388" y="72"/>
                    <a:pt x="388" y="108"/>
                  </a:cubicBezTo>
                  <a:cubicBezTo>
                    <a:pt x="369" y="115"/>
                    <a:pt x="362" y="108"/>
                    <a:pt x="357" y="89"/>
                  </a:cubicBezTo>
                  <a:cubicBezTo>
                    <a:pt x="345" y="45"/>
                    <a:pt x="324" y="30"/>
                    <a:pt x="278" y="30"/>
                  </a:cubicBezTo>
                  <a:cubicBezTo>
                    <a:pt x="243" y="30"/>
                    <a:pt x="207" y="30"/>
                    <a:pt x="171" y="30"/>
                  </a:cubicBezTo>
                  <a:cubicBezTo>
                    <a:pt x="154" y="30"/>
                    <a:pt x="144" y="37"/>
                    <a:pt x="144" y="55"/>
                  </a:cubicBezTo>
                  <a:cubicBezTo>
                    <a:pt x="144" y="97"/>
                    <a:pt x="144" y="140"/>
                    <a:pt x="144" y="186"/>
                  </a:cubicBezTo>
                  <a:cubicBezTo>
                    <a:pt x="172" y="186"/>
                    <a:pt x="199" y="184"/>
                    <a:pt x="225" y="186"/>
                  </a:cubicBezTo>
                  <a:cubicBezTo>
                    <a:pt x="260" y="190"/>
                    <a:pt x="295" y="194"/>
                    <a:pt x="329" y="204"/>
                  </a:cubicBezTo>
                  <a:cubicBezTo>
                    <a:pt x="383" y="218"/>
                    <a:pt x="409" y="260"/>
                    <a:pt x="415" y="313"/>
                  </a:cubicBezTo>
                  <a:cubicBezTo>
                    <a:pt x="418" y="341"/>
                    <a:pt x="415" y="371"/>
                    <a:pt x="411" y="400"/>
                  </a:cubicBezTo>
                  <a:cubicBezTo>
                    <a:pt x="403" y="461"/>
                    <a:pt x="364" y="502"/>
                    <a:pt x="306" y="508"/>
                  </a:cubicBezTo>
                  <a:cubicBezTo>
                    <a:pt x="207" y="518"/>
                    <a:pt x="107" y="517"/>
                    <a:pt x="7" y="521"/>
                  </a:cubicBezTo>
                  <a:cubicBezTo>
                    <a:pt x="5" y="517"/>
                    <a:pt x="3" y="514"/>
                    <a:pt x="0" y="510"/>
                  </a:cubicBezTo>
                  <a:close/>
                  <a:moveTo>
                    <a:pt x="144" y="212"/>
                  </a:moveTo>
                  <a:cubicBezTo>
                    <a:pt x="144" y="283"/>
                    <a:pt x="144" y="349"/>
                    <a:pt x="144" y="414"/>
                  </a:cubicBezTo>
                  <a:cubicBezTo>
                    <a:pt x="144" y="487"/>
                    <a:pt x="144" y="487"/>
                    <a:pt x="216" y="486"/>
                  </a:cubicBezTo>
                  <a:cubicBezTo>
                    <a:pt x="253" y="485"/>
                    <a:pt x="286" y="465"/>
                    <a:pt x="291" y="430"/>
                  </a:cubicBezTo>
                  <a:cubicBezTo>
                    <a:pt x="297" y="381"/>
                    <a:pt x="296" y="331"/>
                    <a:pt x="293" y="282"/>
                  </a:cubicBezTo>
                  <a:cubicBezTo>
                    <a:pt x="291" y="254"/>
                    <a:pt x="270" y="232"/>
                    <a:pt x="243" y="225"/>
                  </a:cubicBezTo>
                  <a:cubicBezTo>
                    <a:pt x="212" y="217"/>
                    <a:pt x="179" y="216"/>
                    <a:pt x="144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8549653" y="247140"/>
              <a:ext cx="82137" cy="104337"/>
            </a:xfrm>
            <a:custGeom>
              <a:avLst/>
              <a:gdLst>
                <a:gd name="T0" fmla="*/ 149 w 408"/>
                <a:gd name="T1" fmla="*/ 312 h 516"/>
                <a:gd name="T2" fmla="*/ 150 w 408"/>
                <a:gd name="T3" fmla="*/ 477 h 516"/>
                <a:gd name="T4" fmla="*/ 177 w 408"/>
                <a:gd name="T5" fmla="*/ 516 h 516"/>
                <a:gd name="T6" fmla="*/ 1 w 408"/>
                <a:gd name="T7" fmla="*/ 516 h 516"/>
                <a:gd name="T8" fmla="*/ 36 w 408"/>
                <a:gd name="T9" fmla="*/ 407 h 516"/>
                <a:gd name="T10" fmla="*/ 36 w 408"/>
                <a:gd name="T11" fmla="*/ 114 h 516"/>
                <a:gd name="T12" fmla="*/ 0 w 408"/>
                <a:gd name="T13" fmla="*/ 5 h 516"/>
                <a:gd name="T14" fmla="*/ 29 w 408"/>
                <a:gd name="T15" fmla="*/ 1 h 516"/>
                <a:gd name="T16" fmla="*/ 253 w 408"/>
                <a:gd name="T17" fmla="*/ 1 h 516"/>
                <a:gd name="T18" fmla="*/ 318 w 408"/>
                <a:gd name="T19" fmla="*/ 11 h 516"/>
                <a:gd name="T20" fmla="*/ 404 w 408"/>
                <a:gd name="T21" fmla="*/ 129 h 516"/>
                <a:gd name="T22" fmla="*/ 336 w 408"/>
                <a:gd name="T23" fmla="*/ 287 h 516"/>
                <a:gd name="T24" fmla="*/ 237 w 408"/>
                <a:gd name="T25" fmla="*/ 311 h 516"/>
                <a:gd name="T26" fmla="*/ 149 w 408"/>
                <a:gd name="T27" fmla="*/ 312 h 516"/>
                <a:gd name="T28" fmla="*/ 149 w 408"/>
                <a:gd name="T29" fmla="*/ 284 h 516"/>
                <a:gd name="T30" fmla="*/ 194 w 408"/>
                <a:gd name="T31" fmla="*/ 284 h 516"/>
                <a:gd name="T32" fmla="*/ 281 w 408"/>
                <a:gd name="T33" fmla="*/ 216 h 516"/>
                <a:gd name="T34" fmla="*/ 289 w 408"/>
                <a:gd name="T35" fmla="*/ 132 h 516"/>
                <a:gd name="T36" fmla="*/ 171 w 408"/>
                <a:gd name="T37" fmla="*/ 33 h 516"/>
                <a:gd name="T38" fmla="*/ 150 w 408"/>
                <a:gd name="T39" fmla="*/ 56 h 516"/>
                <a:gd name="T40" fmla="*/ 149 w 408"/>
                <a:gd name="T41" fmla="*/ 28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8" h="516">
                  <a:moveTo>
                    <a:pt x="149" y="312"/>
                  </a:moveTo>
                  <a:cubicBezTo>
                    <a:pt x="149" y="370"/>
                    <a:pt x="147" y="424"/>
                    <a:pt x="150" y="477"/>
                  </a:cubicBezTo>
                  <a:cubicBezTo>
                    <a:pt x="151" y="490"/>
                    <a:pt x="167" y="502"/>
                    <a:pt x="177" y="516"/>
                  </a:cubicBezTo>
                  <a:cubicBezTo>
                    <a:pt x="122" y="516"/>
                    <a:pt x="66" y="516"/>
                    <a:pt x="1" y="516"/>
                  </a:cubicBezTo>
                  <a:cubicBezTo>
                    <a:pt x="54" y="487"/>
                    <a:pt x="36" y="444"/>
                    <a:pt x="36" y="407"/>
                  </a:cubicBezTo>
                  <a:cubicBezTo>
                    <a:pt x="38" y="309"/>
                    <a:pt x="38" y="211"/>
                    <a:pt x="36" y="114"/>
                  </a:cubicBezTo>
                  <a:cubicBezTo>
                    <a:pt x="36" y="77"/>
                    <a:pt x="54" y="33"/>
                    <a:pt x="0" y="5"/>
                  </a:cubicBezTo>
                  <a:cubicBezTo>
                    <a:pt x="16" y="2"/>
                    <a:pt x="23" y="1"/>
                    <a:pt x="29" y="1"/>
                  </a:cubicBezTo>
                  <a:cubicBezTo>
                    <a:pt x="104" y="0"/>
                    <a:pt x="178" y="0"/>
                    <a:pt x="253" y="1"/>
                  </a:cubicBezTo>
                  <a:cubicBezTo>
                    <a:pt x="275" y="1"/>
                    <a:pt x="297" y="5"/>
                    <a:pt x="318" y="11"/>
                  </a:cubicBezTo>
                  <a:cubicBezTo>
                    <a:pt x="375" y="29"/>
                    <a:pt x="400" y="72"/>
                    <a:pt x="404" y="129"/>
                  </a:cubicBezTo>
                  <a:cubicBezTo>
                    <a:pt x="408" y="192"/>
                    <a:pt x="395" y="260"/>
                    <a:pt x="336" y="287"/>
                  </a:cubicBezTo>
                  <a:cubicBezTo>
                    <a:pt x="305" y="301"/>
                    <a:pt x="270" y="307"/>
                    <a:pt x="237" y="311"/>
                  </a:cubicBezTo>
                  <a:cubicBezTo>
                    <a:pt x="209" y="315"/>
                    <a:pt x="180" y="312"/>
                    <a:pt x="149" y="312"/>
                  </a:cubicBezTo>
                  <a:close/>
                  <a:moveTo>
                    <a:pt x="149" y="284"/>
                  </a:moveTo>
                  <a:cubicBezTo>
                    <a:pt x="166" y="284"/>
                    <a:pt x="180" y="284"/>
                    <a:pt x="194" y="284"/>
                  </a:cubicBezTo>
                  <a:cubicBezTo>
                    <a:pt x="245" y="283"/>
                    <a:pt x="270" y="265"/>
                    <a:pt x="281" y="216"/>
                  </a:cubicBezTo>
                  <a:cubicBezTo>
                    <a:pt x="287" y="188"/>
                    <a:pt x="291" y="160"/>
                    <a:pt x="289" y="132"/>
                  </a:cubicBezTo>
                  <a:cubicBezTo>
                    <a:pt x="285" y="54"/>
                    <a:pt x="249" y="25"/>
                    <a:pt x="171" y="33"/>
                  </a:cubicBezTo>
                  <a:cubicBezTo>
                    <a:pt x="163" y="34"/>
                    <a:pt x="150" y="48"/>
                    <a:pt x="150" y="56"/>
                  </a:cubicBezTo>
                  <a:cubicBezTo>
                    <a:pt x="148" y="130"/>
                    <a:pt x="149" y="205"/>
                    <a:pt x="1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8728727" y="247880"/>
              <a:ext cx="96936" cy="104337"/>
            </a:xfrm>
            <a:custGeom>
              <a:avLst/>
              <a:gdLst>
                <a:gd name="T0" fmla="*/ 0 w 479"/>
                <a:gd name="T1" fmla="*/ 517 h 518"/>
                <a:gd name="T2" fmla="*/ 172 w 479"/>
                <a:gd name="T3" fmla="*/ 99 h 518"/>
                <a:gd name="T4" fmla="*/ 183 w 479"/>
                <a:gd name="T5" fmla="*/ 61 h 518"/>
                <a:gd name="T6" fmla="*/ 161 w 479"/>
                <a:gd name="T7" fmla="*/ 13 h 518"/>
                <a:gd name="T8" fmla="*/ 155 w 479"/>
                <a:gd name="T9" fmla="*/ 0 h 518"/>
                <a:gd name="T10" fmla="*/ 297 w 479"/>
                <a:gd name="T11" fmla="*/ 0 h 518"/>
                <a:gd name="T12" fmla="*/ 479 w 479"/>
                <a:gd name="T13" fmla="*/ 516 h 518"/>
                <a:gd name="T14" fmla="*/ 360 w 479"/>
                <a:gd name="T15" fmla="*/ 516 h 518"/>
                <a:gd name="T16" fmla="*/ 307 w 479"/>
                <a:gd name="T17" fmla="*/ 352 h 518"/>
                <a:gd name="T18" fmla="*/ 278 w 479"/>
                <a:gd name="T19" fmla="*/ 329 h 518"/>
                <a:gd name="T20" fmla="*/ 155 w 479"/>
                <a:gd name="T21" fmla="*/ 329 h 518"/>
                <a:gd name="T22" fmla="*/ 125 w 479"/>
                <a:gd name="T23" fmla="*/ 352 h 518"/>
                <a:gd name="T24" fmla="*/ 88 w 479"/>
                <a:gd name="T25" fmla="*/ 498 h 518"/>
                <a:gd name="T26" fmla="*/ 66 w 479"/>
                <a:gd name="T27" fmla="*/ 518 h 518"/>
                <a:gd name="T28" fmla="*/ 0 w 479"/>
                <a:gd name="T29" fmla="*/ 517 h 518"/>
                <a:gd name="T30" fmla="*/ 221 w 479"/>
                <a:gd name="T31" fmla="*/ 91 h 518"/>
                <a:gd name="T32" fmla="*/ 215 w 479"/>
                <a:gd name="T33" fmla="*/ 91 h 518"/>
                <a:gd name="T34" fmla="*/ 144 w 479"/>
                <a:gd name="T35" fmla="*/ 296 h 518"/>
                <a:gd name="T36" fmla="*/ 289 w 479"/>
                <a:gd name="T37" fmla="*/ 296 h 518"/>
                <a:gd name="T38" fmla="*/ 221 w 479"/>
                <a:gd name="T39" fmla="*/ 9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9" h="518">
                  <a:moveTo>
                    <a:pt x="0" y="517"/>
                  </a:moveTo>
                  <a:cubicBezTo>
                    <a:pt x="58" y="376"/>
                    <a:pt x="115" y="238"/>
                    <a:pt x="172" y="99"/>
                  </a:cubicBezTo>
                  <a:cubicBezTo>
                    <a:pt x="177" y="87"/>
                    <a:pt x="181" y="74"/>
                    <a:pt x="183" y="61"/>
                  </a:cubicBezTo>
                  <a:cubicBezTo>
                    <a:pt x="186" y="41"/>
                    <a:pt x="186" y="21"/>
                    <a:pt x="161" y="13"/>
                  </a:cubicBezTo>
                  <a:cubicBezTo>
                    <a:pt x="159" y="13"/>
                    <a:pt x="158" y="6"/>
                    <a:pt x="155" y="0"/>
                  </a:cubicBezTo>
                  <a:cubicBezTo>
                    <a:pt x="205" y="0"/>
                    <a:pt x="253" y="0"/>
                    <a:pt x="297" y="0"/>
                  </a:cubicBezTo>
                  <a:cubicBezTo>
                    <a:pt x="358" y="173"/>
                    <a:pt x="418" y="344"/>
                    <a:pt x="479" y="516"/>
                  </a:cubicBezTo>
                  <a:cubicBezTo>
                    <a:pt x="442" y="516"/>
                    <a:pt x="401" y="516"/>
                    <a:pt x="360" y="516"/>
                  </a:cubicBezTo>
                  <a:cubicBezTo>
                    <a:pt x="342" y="461"/>
                    <a:pt x="324" y="407"/>
                    <a:pt x="307" y="352"/>
                  </a:cubicBezTo>
                  <a:cubicBezTo>
                    <a:pt x="302" y="336"/>
                    <a:pt x="296" y="329"/>
                    <a:pt x="278" y="329"/>
                  </a:cubicBezTo>
                  <a:cubicBezTo>
                    <a:pt x="237" y="331"/>
                    <a:pt x="196" y="331"/>
                    <a:pt x="155" y="329"/>
                  </a:cubicBezTo>
                  <a:cubicBezTo>
                    <a:pt x="137" y="329"/>
                    <a:pt x="129" y="336"/>
                    <a:pt x="125" y="352"/>
                  </a:cubicBezTo>
                  <a:cubicBezTo>
                    <a:pt x="113" y="400"/>
                    <a:pt x="100" y="449"/>
                    <a:pt x="88" y="498"/>
                  </a:cubicBezTo>
                  <a:cubicBezTo>
                    <a:pt x="85" y="510"/>
                    <a:pt x="81" y="518"/>
                    <a:pt x="66" y="518"/>
                  </a:cubicBezTo>
                  <a:cubicBezTo>
                    <a:pt x="43" y="517"/>
                    <a:pt x="20" y="517"/>
                    <a:pt x="0" y="517"/>
                  </a:cubicBezTo>
                  <a:close/>
                  <a:moveTo>
                    <a:pt x="221" y="91"/>
                  </a:moveTo>
                  <a:cubicBezTo>
                    <a:pt x="219" y="91"/>
                    <a:pt x="217" y="91"/>
                    <a:pt x="215" y="91"/>
                  </a:cubicBezTo>
                  <a:cubicBezTo>
                    <a:pt x="191" y="159"/>
                    <a:pt x="168" y="226"/>
                    <a:pt x="144" y="296"/>
                  </a:cubicBezTo>
                  <a:cubicBezTo>
                    <a:pt x="195" y="296"/>
                    <a:pt x="241" y="296"/>
                    <a:pt x="289" y="296"/>
                  </a:cubicBezTo>
                  <a:cubicBezTo>
                    <a:pt x="266" y="226"/>
                    <a:pt x="244" y="159"/>
                    <a:pt x="22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8462337" y="247880"/>
              <a:ext cx="74737" cy="103596"/>
            </a:xfrm>
            <a:custGeom>
              <a:avLst/>
              <a:gdLst>
                <a:gd name="T0" fmla="*/ 0 w 371"/>
                <a:gd name="T1" fmla="*/ 0 h 516"/>
                <a:gd name="T2" fmla="*/ 358 w 371"/>
                <a:gd name="T3" fmla="*/ 0 h 516"/>
                <a:gd name="T4" fmla="*/ 358 w 371"/>
                <a:gd name="T5" fmla="*/ 108 h 516"/>
                <a:gd name="T6" fmla="*/ 328 w 371"/>
                <a:gd name="T7" fmla="*/ 92 h 516"/>
                <a:gd name="T8" fmla="*/ 244 w 371"/>
                <a:gd name="T9" fmla="*/ 30 h 516"/>
                <a:gd name="T10" fmla="*/ 159 w 371"/>
                <a:gd name="T11" fmla="*/ 31 h 516"/>
                <a:gd name="T12" fmla="*/ 140 w 371"/>
                <a:gd name="T13" fmla="*/ 49 h 516"/>
                <a:gd name="T14" fmla="*/ 139 w 371"/>
                <a:gd name="T15" fmla="*/ 220 h 516"/>
                <a:gd name="T16" fmla="*/ 297 w 371"/>
                <a:gd name="T17" fmla="*/ 211 h 516"/>
                <a:gd name="T18" fmla="*/ 297 w 371"/>
                <a:gd name="T19" fmla="*/ 256 h 516"/>
                <a:gd name="T20" fmla="*/ 139 w 371"/>
                <a:gd name="T21" fmla="*/ 247 h 516"/>
                <a:gd name="T22" fmla="*/ 139 w 371"/>
                <a:gd name="T23" fmla="*/ 296 h 516"/>
                <a:gd name="T24" fmla="*/ 139 w 371"/>
                <a:gd name="T25" fmla="*/ 445 h 516"/>
                <a:gd name="T26" fmla="*/ 175 w 371"/>
                <a:gd name="T27" fmla="*/ 485 h 516"/>
                <a:gd name="T28" fmla="*/ 282 w 371"/>
                <a:gd name="T29" fmla="*/ 485 h 516"/>
                <a:gd name="T30" fmla="*/ 328 w 371"/>
                <a:gd name="T31" fmla="*/ 447 h 516"/>
                <a:gd name="T32" fmla="*/ 343 w 371"/>
                <a:gd name="T33" fmla="*/ 400 h 516"/>
                <a:gd name="T34" fmla="*/ 371 w 371"/>
                <a:gd name="T35" fmla="*/ 400 h 516"/>
                <a:gd name="T36" fmla="*/ 371 w 371"/>
                <a:gd name="T37" fmla="*/ 516 h 516"/>
                <a:gd name="T38" fmla="*/ 2 w 371"/>
                <a:gd name="T39" fmla="*/ 516 h 516"/>
                <a:gd name="T40" fmla="*/ 1 w 371"/>
                <a:gd name="T41" fmla="*/ 510 h 516"/>
                <a:gd name="T42" fmla="*/ 28 w 371"/>
                <a:gd name="T43" fmla="*/ 433 h 516"/>
                <a:gd name="T44" fmla="*/ 28 w 371"/>
                <a:gd name="T45" fmla="*/ 65 h 516"/>
                <a:gd name="T46" fmla="*/ 2 w 371"/>
                <a:gd name="T47" fmla="*/ 12 h 516"/>
                <a:gd name="T48" fmla="*/ 0 w 371"/>
                <a:gd name="T49" fmla="*/ 0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1" h="516">
                  <a:moveTo>
                    <a:pt x="0" y="0"/>
                  </a:moveTo>
                  <a:cubicBezTo>
                    <a:pt x="120" y="0"/>
                    <a:pt x="238" y="0"/>
                    <a:pt x="358" y="0"/>
                  </a:cubicBezTo>
                  <a:cubicBezTo>
                    <a:pt x="358" y="36"/>
                    <a:pt x="358" y="72"/>
                    <a:pt x="358" y="108"/>
                  </a:cubicBezTo>
                  <a:cubicBezTo>
                    <a:pt x="341" y="114"/>
                    <a:pt x="333" y="109"/>
                    <a:pt x="328" y="92"/>
                  </a:cubicBezTo>
                  <a:cubicBezTo>
                    <a:pt x="313" y="40"/>
                    <a:pt x="298" y="30"/>
                    <a:pt x="244" y="30"/>
                  </a:cubicBezTo>
                  <a:cubicBezTo>
                    <a:pt x="216" y="30"/>
                    <a:pt x="187" y="29"/>
                    <a:pt x="159" y="31"/>
                  </a:cubicBezTo>
                  <a:cubicBezTo>
                    <a:pt x="152" y="32"/>
                    <a:pt x="140" y="42"/>
                    <a:pt x="140" y="49"/>
                  </a:cubicBezTo>
                  <a:cubicBezTo>
                    <a:pt x="139" y="104"/>
                    <a:pt x="139" y="159"/>
                    <a:pt x="139" y="220"/>
                  </a:cubicBezTo>
                  <a:cubicBezTo>
                    <a:pt x="193" y="217"/>
                    <a:pt x="244" y="214"/>
                    <a:pt x="297" y="211"/>
                  </a:cubicBezTo>
                  <a:cubicBezTo>
                    <a:pt x="297" y="224"/>
                    <a:pt x="297" y="241"/>
                    <a:pt x="297" y="256"/>
                  </a:cubicBezTo>
                  <a:cubicBezTo>
                    <a:pt x="247" y="253"/>
                    <a:pt x="195" y="250"/>
                    <a:pt x="139" y="247"/>
                  </a:cubicBezTo>
                  <a:cubicBezTo>
                    <a:pt x="139" y="266"/>
                    <a:pt x="139" y="281"/>
                    <a:pt x="139" y="296"/>
                  </a:cubicBezTo>
                  <a:cubicBezTo>
                    <a:pt x="139" y="346"/>
                    <a:pt x="140" y="395"/>
                    <a:pt x="139" y="445"/>
                  </a:cubicBezTo>
                  <a:cubicBezTo>
                    <a:pt x="138" y="472"/>
                    <a:pt x="152" y="484"/>
                    <a:pt x="175" y="485"/>
                  </a:cubicBezTo>
                  <a:cubicBezTo>
                    <a:pt x="210" y="487"/>
                    <a:pt x="246" y="487"/>
                    <a:pt x="282" y="485"/>
                  </a:cubicBezTo>
                  <a:cubicBezTo>
                    <a:pt x="305" y="484"/>
                    <a:pt x="321" y="470"/>
                    <a:pt x="328" y="447"/>
                  </a:cubicBezTo>
                  <a:cubicBezTo>
                    <a:pt x="333" y="431"/>
                    <a:pt x="338" y="416"/>
                    <a:pt x="343" y="400"/>
                  </a:cubicBezTo>
                  <a:cubicBezTo>
                    <a:pt x="352" y="400"/>
                    <a:pt x="361" y="400"/>
                    <a:pt x="371" y="400"/>
                  </a:cubicBezTo>
                  <a:cubicBezTo>
                    <a:pt x="371" y="439"/>
                    <a:pt x="371" y="477"/>
                    <a:pt x="371" y="516"/>
                  </a:cubicBezTo>
                  <a:cubicBezTo>
                    <a:pt x="247" y="516"/>
                    <a:pt x="124" y="516"/>
                    <a:pt x="2" y="516"/>
                  </a:cubicBezTo>
                  <a:cubicBezTo>
                    <a:pt x="2" y="513"/>
                    <a:pt x="0" y="510"/>
                    <a:pt x="1" y="510"/>
                  </a:cubicBezTo>
                  <a:cubicBezTo>
                    <a:pt x="31" y="492"/>
                    <a:pt x="28" y="462"/>
                    <a:pt x="28" y="433"/>
                  </a:cubicBezTo>
                  <a:cubicBezTo>
                    <a:pt x="27" y="311"/>
                    <a:pt x="27" y="188"/>
                    <a:pt x="28" y="65"/>
                  </a:cubicBezTo>
                  <a:cubicBezTo>
                    <a:pt x="28" y="43"/>
                    <a:pt x="28" y="22"/>
                    <a:pt x="2" y="12"/>
                  </a:cubicBezTo>
                  <a:cubicBezTo>
                    <a:pt x="1" y="12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8269943" y="244920"/>
              <a:ext cx="86577" cy="109516"/>
            </a:xfrm>
            <a:custGeom>
              <a:avLst/>
              <a:gdLst>
                <a:gd name="T0" fmla="*/ 413 w 430"/>
                <a:gd name="T1" fmla="*/ 130 h 544"/>
                <a:gd name="T2" fmla="*/ 376 w 430"/>
                <a:gd name="T3" fmla="*/ 110 h 544"/>
                <a:gd name="T4" fmla="*/ 283 w 430"/>
                <a:gd name="T5" fmla="*/ 37 h 544"/>
                <a:gd name="T6" fmla="*/ 157 w 430"/>
                <a:gd name="T7" fmla="*/ 92 h 544"/>
                <a:gd name="T8" fmla="*/ 132 w 430"/>
                <a:gd name="T9" fmla="*/ 175 h 544"/>
                <a:gd name="T10" fmla="*/ 146 w 430"/>
                <a:gd name="T11" fmla="*/ 403 h 544"/>
                <a:gd name="T12" fmla="*/ 309 w 430"/>
                <a:gd name="T13" fmla="*/ 494 h 544"/>
                <a:gd name="T14" fmla="*/ 418 w 430"/>
                <a:gd name="T15" fmla="*/ 471 h 544"/>
                <a:gd name="T16" fmla="*/ 430 w 430"/>
                <a:gd name="T17" fmla="*/ 493 h 544"/>
                <a:gd name="T18" fmla="*/ 306 w 430"/>
                <a:gd name="T19" fmla="*/ 537 h 544"/>
                <a:gd name="T20" fmla="*/ 137 w 430"/>
                <a:gd name="T21" fmla="*/ 521 h 544"/>
                <a:gd name="T22" fmla="*/ 21 w 430"/>
                <a:gd name="T23" fmla="*/ 387 h 544"/>
                <a:gd name="T24" fmla="*/ 23 w 430"/>
                <a:gd name="T25" fmla="*/ 157 h 544"/>
                <a:gd name="T26" fmla="*/ 195 w 430"/>
                <a:gd name="T27" fmla="*/ 9 h 544"/>
                <a:gd name="T28" fmla="*/ 393 w 430"/>
                <a:gd name="T29" fmla="*/ 20 h 544"/>
                <a:gd name="T30" fmla="*/ 413 w 430"/>
                <a:gd name="T31" fmla="*/ 44 h 544"/>
                <a:gd name="T32" fmla="*/ 413 w 430"/>
                <a:gd name="T33" fmla="*/ 13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0" h="544">
                  <a:moveTo>
                    <a:pt x="413" y="130"/>
                  </a:moveTo>
                  <a:cubicBezTo>
                    <a:pt x="390" y="137"/>
                    <a:pt x="381" y="130"/>
                    <a:pt x="376" y="110"/>
                  </a:cubicBezTo>
                  <a:cubicBezTo>
                    <a:pt x="364" y="59"/>
                    <a:pt x="336" y="39"/>
                    <a:pt x="283" y="37"/>
                  </a:cubicBezTo>
                  <a:cubicBezTo>
                    <a:pt x="231" y="34"/>
                    <a:pt x="183" y="43"/>
                    <a:pt x="157" y="92"/>
                  </a:cubicBezTo>
                  <a:cubicBezTo>
                    <a:pt x="144" y="118"/>
                    <a:pt x="137" y="147"/>
                    <a:pt x="132" y="175"/>
                  </a:cubicBezTo>
                  <a:cubicBezTo>
                    <a:pt x="120" y="252"/>
                    <a:pt x="121" y="329"/>
                    <a:pt x="146" y="403"/>
                  </a:cubicBezTo>
                  <a:cubicBezTo>
                    <a:pt x="170" y="474"/>
                    <a:pt x="233" y="505"/>
                    <a:pt x="309" y="494"/>
                  </a:cubicBezTo>
                  <a:cubicBezTo>
                    <a:pt x="345" y="488"/>
                    <a:pt x="380" y="479"/>
                    <a:pt x="418" y="471"/>
                  </a:cubicBezTo>
                  <a:cubicBezTo>
                    <a:pt x="420" y="475"/>
                    <a:pt x="424" y="483"/>
                    <a:pt x="430" y="493"/>
                  </a:cubicBezTo>
                  <a:cubicBezTo>
                    <a:pt x="392" y="520"/>
                    <a:pt x="350" y="532"/>
                    <a:pt x="306" y="537"/>
                  </a:cubicBezTo>
                  <a:cubicBezTo>
                    <a:pt x="249" y="544"/>
                    <a:pt x="191" y="544"/>
                    <a:pt x="137" y="521"/>
                  </a:cubicBezTo>
                  <a:cubicBezTo>
                    <a:pt x="76" y="496"/>
                    <a:pt x="38" y="449"/>
                    <a:pt x="21" y="387"/>
                  </a:cubicBezTo>
                  <a:cubicBezTo>
                    <a:pt x="0" y="311"/>
                    <a:pt x="1" y="234"/>
                    <a:pt x="23" y="157"/>
                  </a:cubicBezTo>
                  <a:cubicBezTo>
                    <a:pt x="49" y="71"/>
                    <a:pt x="108" y="21"/>
                    <a:pt x="195" y="9"/>
                  </a:cubicBezTo>
                  <a:cubicBezTo>
                    <a:pt x="261" y="0"/>
                    <a:pt x="328" y="1"/>
                    <a:pt x="393" y="20"/>
                  </a:cubicBezTo>
                  <a:cubicBezTo>
                    <a:pt x="408" y="24"/>
                    <a:pt x="414" y="29"/>
                    <a:pt x="413" y="44"/>
                  </a:cubicBezTo>
                  <a:cubicBezTo>
                    <a:pt x="412" y="73"/>
                    <a:pt x="413" y="101"/>
                    <a:pt x="4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8949979" y="247880"/>
              <a:ext cx="34779" cy="103596"/>
            </a:xfrm>
            <a:custGeom>
              <a:avLst/>
              <a:gdLst>
                <a:gd name="T0" fmla="*/ 0 w 174"/>
                <a:gd name="T1" fmla="*/ 0 h 514"/>
                <a:gd name="T2" fmla="*/ 168 w 174"/>
                <a:gd name="T3" fmla="*/ 0 h 514"/>
                <a:gd name="T4" fmla="*/ 169 w 174"/>
                <a:gd name="T5" fmla="*/ 9 h 514"/>
                <a:gd name="T6" fmla="*/ 142 w 174"/>
                <a:gd name="T7" fmla="*/ 75 h 514"/>
                <a:gd name="T8" fmla="*/ 142 w 174"/>
                <a:gd name="T9" fmla="*/ 443 h 514"/>
                <a:gd name="T10" fmla="*/ 174 w 174"/>
                <a:gd name="T11" fmla="*/ 508 h 514"/>
                <a:gd name="T12" fmla="*/ 169 w 174"/>
                <a:gd name="T13" fmla="*/ 514 h 514"/>
                <a:gd name="T14" fmla="*/ 4 w 174"/>
                <a:gd name="T15" fmla="*/ 514 h 514"/>
                <a:gd name="T16" fmla="*/ 4 w 174"/>
                <a:gd name="T17" fmla="*/ 508 h 514"/>
                <a:gd name="T18" fmla="*/ 30 w 174"/>
                <a:gd name="T19" fmla="*/ 449 h 514"/>
                <a:gd name="T20" fmla="*/ 30 w 174"/>
                <a:gd name="T21" fmla="*/ 57 h 514"/>
                <a:gd name="T22" fmla="*/ 7 w 174"/>
                <a:gd name="T23" fmla="*/ 13 h 514"/>
                <a:gd name="T24" fmla="*/ 0 w 174"/>
                <a:gd name="T25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514">
                  <a:moveTo>
                    <a:pt x="0" y="0"/>
                  </a:moveTo>
                  <a:cubicBezTo>
                    <a:pt x="59" y="0"/>
                    <a:pt x="113" y="0"/>
                    <a:pt x="168" y="0"/>
                  </a:cubicBezTo>
                  <a:cubicBezTo>
                    <a:pt x="168" y="4"/>
                    <a:pt x="169" y="8"/>
                    <a:pt x="169" y="9"/>
                  </a:cubicBezTo>
                  <a:cubicBezTo>
                    <a:pt x="141" y="23"/>
                    <a:pt x="142" y="48"/>
                    <a:pt x="142" y="75"/>
                  </a:cubicBezTo>
                  <a:cubicBezTo>
                    <a:pt x="142" y="197"/>
                    <a:pt x="142" y="320"/>
                    <a:pt x="142" y="443"/>
                  </a:cubicBezTo>
                  <a:cubicBezTo>
                    <a:pt x="142" y="468"/>
                    <a:pt x="135" y="497"/>
                    <a:pt x="174" y="508"/>
                  </a:cubicBezTo>
                  <a:cubicBezTo>
                    <a:pt x="172" y="510"/>
                    <a:pt x="171" y="512"/>
                    <a:pt x="169" y="514"/>
                  </a:cubicBezTo>
                  <a:cubicBezTo>
                    <a:pt x="114" y="514"/>
                    <a:pt x="59" y="514"/>
                    <a:pt x="4" y="514"/>
                  </a:cubicBezTo>
                  <a:cubicBezTo>
                    <a:pt x="4" y="511"/>
                    <a:pt x="3" y="508"/>
                    <a:pt x="4" y="508"/>
                  </a:cubicBezTo>
                  <a:cubicBezTo>
                    <a:pt x="31" y="496"/>
                    <a:pt x="31" y="473"/>
                    <a:pt x="30" y="449"/>
                  </a:cubicBezTo>
                  <a:cubicBezTo>
                    <a:pt x="30" y="318"/>
                    <a:pt x="30" y="188"/>
                    <a:pt x="30" y="57"/>
                  </a:cubicBezTo>
                  <a:cubicBezTo>
                    <a:pt x="30" y="37"/>
                    <a:pt x="30" y="19"/>
                    <a:pt x="7" y="13"/>
                  </a:cubicBezTo>
                  <a:cubicBezTo>
                    <a:pt x="5" y="13"/>
                    <a:pt x="4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8981058" y="247140"/>
              <a:ext cx="65118" cy="106556"/>
            </a:xfrm>
            <a:custGeom>
              <a:avLst/>
              <a:gdLst>
                <a:gd name="T0" fmla="*/ 280 w 324"/>
                <a:gd name="T1" fmla="*/ 0 h 526"/>
                <a:gd name="T2" fmla="*/ 97 w 324"/>
                <a:gd name="T3" fmla="*/ 183 h 526"/>
                <a:gd name="T4" fmla="*/ 96 w 324"/>
                <a:gd name="T5" fmla="*/ 213 h 526"/>
                <a:gd name="T6" fmla="*/ 324 w 324"/>
                <a:gd name="T7" fmla="*/ 519 h 526"/>
                <a:gd name="T8" fmla="*/ 219 w 324"/>
                <a:gd name="T9" fmla="*/ 520 h 526"/>
                <a:gd name="T10" fmla="*/ 135 w 324"/>
                <a:gd name="T11" fmla="*/ 470 h 526"/>
                <a:gd name="T12" fmla="*/ 12 w 324"/>
                <a:gd name="T13" fmla="*/ 271 h 526"/>
                <a:gd name="T14" fmla="*/ 14 w 324"/>
                <a:gd name="T15" fmla="*/ 226 h 526"/>
                <a:gd name="T16" fmla="*/ 168 w 324"/>
                <a:gd name="T17" fmla="*/ 14 h 526"/>
                <a:gd name="T18" fmla="*/ 185 w 324"/>
                <a:gd name="T19" fmla="*/ 1 h 526"/>
                <a:gd name="T20" fmla="*/ 280 w 324"/>
                <a:gd name="T21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4" h="526">
                  <a:moveTo>
                    <a:pt x="280" y="0"/>
                  </a:moveTo>
                  <a:cubicBezTo>
                    <a:pt x="219" y="62"/>
                    <a:pt x="158" y="123"/>
                    <a:pt x="97" y="183"/>
                  </a:cubicBezTo>
                  <a:cubicBezTo>
                    <a:pt x="87" y="194"/>
                    <a:pt x="88" y="201"/>
                    <a:pt x="96" y="213"/>
                  </a:cubicBezTo>
                  <a:cubicBezTo>
                    <a:pt x="172" y="314"/>
                    <a:pt x="248" y="417"/>
                    <a:pt x="324" y="519"/>
                  </a:cubicBezTo>
                  <a:cubicBezTo>
                    <a:pt x="292" y="519"/>
                    <a:pt x="255" y="516"/>
                    <a:pt x="219" y="520"/>
                  </a:cubicBezTo>
                  <a:cubicBezTo>
                    <a:pt x="175" y="526"/>
                    <a:pt x="155" y="508"/>
                    <a:pt x="135" y="470"/>
                  </a:cubicBezTo>
                  <a:cubicBezTo>
                    <a:pt x="99" y="401"/>
                    <a:pt x="54" y="337"/>
                    <a:pt x="12" y="271"/>
                  </a:cubicBezTo>
                  <a:cubicBezTo>
                    <a:pt x="1" y="254"/>
                    <a:pt x="0" y="244"/>
                    <a:pt x="14" y="226"/>
                  </a:cubicBezTo>
                  <a:cubicBezTo>
                    <a:pt x="67" y="157"/>
                    <a:pt x="117" y="85"/>
                    <a:pt x="168" y="14"/>
                  </a:cubicBezTo>
                  <a:cubicBezTo>
                    <a:pt x="172" y="8"/>
                    <a:pt x="179" y="1"/>
                    <a:pt x="185" y="1"/>
                  </a:cubicBezTo>
                  <a:cubicBezTo>
                    <a:pt x="218" y="0"/>
                    <a:pt x="250" y="0"/>
                    <a:pt x="2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8017613" y="250100"/>
              <a:ext cx="184253" cy="79177"/>
            </a:xfrm>
            <a:custGeom>
              <a:avLst/>
              <a:gdLst>
                <a:gd name="T0" fmla="*/ 15 w 916"/>
                <a:gd name="T1" fmla="*/ 172 h 395"/>
                <a:gd name="T2" fmla="*/ 275 w 916"/>
                <a:gd name="T3" fmla="*/ 322 h 395"/>
                <a:gd name="T4" fmla="*/ 321 w 916"/>
                <a:gd name="T5" fmla="*/ 323 h 395"/>
                <a:gd name="T6" fmla="*/ 863 w 916"/>
                <a:gd name="T7" fmla="*/ 10 h 395"/>
                <a:gd name="T8" fmla="*/ 898 w 916"/>
                <a:gd name="T9" fmla="*/ 17 h 395"/>
                <a:gd name="T10" fmla="*/ 916 w 916"/>
                <a:gd name="T11" fmla="*/ 41 h 395"/>
                <a:gd name="T12" fmla="*/ 783 w 916"/>
                <a:gd name="T13" fmla="*/ 118 h 395"/>
                <a:gd name="T14" fmla="*/ 318 w 916"/>
                <a:gd name="T15" fmla="*/ 386 h 395"/>
                <a:gd name="T16" fmla="*/ 277 w 916"/>
                <a:gd name="T17" fmla="*/ 385 h 395"/>
                <a:gd name="T18" fmla="*/ 20 w 916"/>
                <a:gd name="T19" fmla="*/ 237 h 395"/>
                <a:gd name="T20" fmla="*/ 6 w 916"/>
                <a:gd name="T21" fmla="*/ 206 h 395"/>
                <a:gd name="T22" fmla="*/ 15 w 916"/>
                <a:gd name="T23" fmla="*/ 17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6" h="395">
                  <a:moveTo>
                    <a:pt x="15" y="172"/>
                  </a:moveTo>
                  <a:cubicBezTo>
                    <a:pt x="104" y="223"/>
                    <a:pt x="190" y="273"/>
                    <a:pt x="275" y="322"/>
                  </a:cubicBezTo>
                  <a:cubicBezTo>
                    <a:pt x="291" y="331"/>
                    <a:pt x="303" y="333"/>
                    <a:pt x="321" y="323"/>
                  </a:cubicBezTo>
                  <a:cubicBezTo>
                    <a:pt x="501" y="218"/>
                    <a:pt x="682" y="114"/>
                    <a:pt x="863" y="10"/>
                  </a:cubicBezTo>
                  <a:cubicBezTo>
                    <a:pt x="878" y="2"/>
                    <a:pt x="889" y="0"/>
                    <a:pt x="898" y="17"/>
                  </a:cubicBezTo>
                  <a:cubicBezTo>
                    <a:pt x="902" y="25"/>
                    <a:pt x="908" y="31"/>
                    <a:pt x="916" y="41"/>
                  </a:cubicBezTo>
                  <a:cubicBezTo>
                    <a:pt x="871" y="67"/>
                    <a:pt x="827" y="93"/>
                    <a:pt x="783" y="118"/>
                  </a:cubicBezTo>
                  <a:cubicBezTo>
                    <a:pt x="628" y="207"/>
                    <a:pt x="473" y="296"/>
                    <a:pt x="318" y="386"/>
                  </a:cubicBezTo>
                  <a:cubicBezTo>
                    <a:pt x="302" y="395"/>
                    <a:pt x="291" y="393"/>
                    <a:pt x="277" y="385"/>
                  </a:cubicBezTo>
                  <a:cubicBezTo>
                    <a:pt x="191" y="336"/>
                    <a:pt x="106" y="286"/>
                    <a:pt x="20" y="237"/>
                  </a:cubicBezTo>
                  <a:cubicBezTo>
                    <a:pt x="6" y="230"/>
                    <a:pt x="0" y="222"/>
                    <a:pt x="6" y="206"/>
                  </a:cubicBezTo>
                  <a:cubicBezTo>
                    <a:pt x="10" y="196"/>
                    <a:pt x="12" y="185"/>
                    <a:pt x="15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8023533" y="233081"/>
              <a:ext cx="162794" cy="71037"/>
            </a:xfrm>
            <a:custGeom>
              <a:avLst/>
              <a:gdLst>
                <a:gd name="T0" fmla="*/ 31 w 811"/>
                <a:gd name="T1" fmla="*/ 156 h 352"/>
                <a:gd name="T2" fmla="*/ 252 w 811"/>
                <a:gd name="T3" fmla="*/ 281 h 352"/>
                <a:gd name="T4" fmla="*/ 284 w 811"/>
                <a:gd name="T5" fmla="*/ 283 h 352"/>
                <a:gd name="T6" fmla="*/ 681 w 811"/>
                <a:gd name="T7" fmla="*/ 56 h 352"/>
                <a:gd name="T8" fmla="*/ 738 w 811"/>
                <a:gd name="T9" fmla="*/ 23 h 352"/>
                <a:gd name="T10" fmla="*/ 811 w 811"/>
                <a:gd name="T11" fmla="*/ 42 h 352"/>
                <a:gd name="T12" fmla="*/ 640 w 811"/>
                <a:gd name="T13" fmla="*/ 141 h 352"/>
                <a:gd name="T14" fmla="*/ 300 w 811"/>
                <a:gd name="T15" fmla="*/ 337 h 352"/>
                <a:gd name="T16" fmla="*/ 242 w 811"/>
                <a:gd name="T17" fmla="*/ 339 h 352"/>
                <a:gd name="T18" fmla="*/ 42 w 811"/>
                <a:gd name="T19" fmla="*/ 223 h 352"/>
                <a:gd name="T20" fmla="*/ 31 w 811"/>
                <a:gd name="T21" fmla="*/ 156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1" h="352">
                  <a:moveTo>
                    <a:pt x="31" y="156"/>
                  </a:moveTo>
                  <a:cubicBezTo>
                    <a:pt x="105" y="198"/>
                    <a:pt x="178" y="240"/>
                    <a:pt x="252" y="281"/>
                  </a:cubicBezTo>
                  <a:cubicBezTo>
                    <a:pt x="261" y="286"/>
                    <a:pt x="276" y="287"/>
                    <a:pt x="284" y="283"/>
                  </a:cubicBezTo>
                  <a:cubicBezTo>
                    <a:pt x="417" y="208"/>
                    <a:pt x="549" y="132"/>
                    <a:pt x="681" y="56"/>
                  </a:cubicBezTo>
                  <a:cubicBezTo>
                    <a:pt x="700" y="45"/>
                    <a:pt x="719" y="35"/>
                    <a:pt x="738" y="23"/>
                  </a:cubicBezTo>
                  <a:cubicBezTo>
                    <a:pt x="777" y="0"/>
                    <a:pt x="783" y="2"/>
                    <a:pt x="811" y="42"/>
                  </a:cubicBezTo>
                  <a:cubicBezTo>
                    <a:pt x="754" y="75"/>
                    <a:pt x="697" y="108"/>
                    <a:pt x="640" y="141"/>
                  </a:cubicBezTo>
                  <a:cubicBezTo>
                    <a:pt x="526" y="207"/>
                    <a:pt x="413" y="271"/>
                    <a:pt x="300" y="337"/>
                  </a:cubicBezTo>
                  <a:cubicBezTo>
                    <a:pt x="279" y="349"/>
                    <a:pt x="263" y="352"/>
                    <a:pt x="242" y="339"/>
                  </a:cubicBezTo>
                  <a:cubicBezTo>
                    <a:pt x="176" y="299"/>
                    <a:pt x="109" y="262"/>
                    <a:pt x="42" y="223"/>
                  </a:cubicBezTo>
                  <a:cubicBezTo>
                    <a:pt x="0" y="199"/>
                    <a:pt x="0" y="199"/>
                    <a:pt x="31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8035372" y="219761"/>
              <a:ext cx="132455" cy="58458"/>
            </a:xfrm>
            <a:custGeom>
              <a:avLst/>
              <a:gdLst>
                <a:gd name="T0" fmla="*/ 0 w 660"/>
                <a:gd name="T1" fmla="*/ 174 h 291"/>
                <a:gd name="T2" fmla="*/ 35 w 660"/>
                <a:gd name="T3" fmla="*/ 134 h 291"/>
                <a:gd name="T4" fmla="*/ 182 w 660"/>
                <a:gd name="T5" fmla="*/ 219 h 291"/>
                <a:gd name="T6" fmla="*/ 236 w 660"/>
                <a:gd name="T7" fmla="*/ 220 h 291"/>
                <a:gd name="T8" fmla="*/ 575 w 660"/>
                <a:gd name="T9" fmla="*/ 23 h 291"/>
                <a:gd name="T10" fmla="*/ 660 w 660"/>
                <a:gd name="T11" fmla="*/ 36 h 291"/>
                <a:gd name="T12" fmla="*/ 507 w 660"/>
                <a:gd name="T13" fmla="*/ 124 h 291"/>
                <a:gd name="T14" fmla="*/ 228 w 660"/>
                <a:gd name="T15" fmla="*/ 284 h 291"/>
                <a:gd name="T16" fmla="*/ 195 w 660"/>
                <a:gd name="T17" fmla="*/ 287 h 291"/>
                <a:gd name="T18" fmla="*/ 0 w 660"/>
                <a:gd name="T19" fmla="*/ 17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0" h="291">
                  <a:moveTo>
                    <a:pt x="0" y="174"/>
                  </a:moveTo>
                  <a:cubicBezTo>
                    <a:pt x="12" y="160"/>
                    <a:pt x="24" y="147"/>
                    <a:pt x="35" y="134"/>
                  </a:cubicBezTo>
                  <a:cubicBezTo>
                    <a:pt x="86" y="163"/>
                    <a:pt x="135" y="190"/>
                    <a:pt x="182" y="219"/>
                  </a:cubicBezTo>
                  <a:cubicBezTo>
                    <a:pt x="201" y="231"/>
                    <a:pt x="216" y="231"/>
                    <a:pt x="236" y="220"/>
                  </a:cubicBezTo>
                  <a:cubicBezTo>
                    <a:pt x="349" y="154"/>
                    <a:pt x="463" y="91"/>
                    <a:pt x="575" y="23"/>
                  </a:cubicBezTo>
                  <a:cubicBezTo>
                    <a:pt x="611" y="0"/>
                    <a:pt x="629" y="24"/>
                    <a:pt x="660" y="36"/>
                  </a:cubicBezTo>
                  <a:cubicBezTo>
                    <a:pt x="606" y="67"/>
                    <a:pt x="557" y="95"/>
                    <a:pt x="507" y="124"/>
                  </a:cubicBezTo>
                  <a:cubicBezTo>
                    <a:pt x="414" y="177"/>
                    <a:pt x="322" y="231"/>
                    <a:pt x="228" y="284"/>
                  </a:cubicBezTo>
                  <a:cubicBezTo>
                    <a:pt x="219" y="289"/>
                    <a:pt x="204" y="291"/>
                    <a:pt x="195" y="287"/>
                  </a:cubicBezTo>
                  <a:cubicBezTo>
                    <a:pt x="130" y="251"/>
                    <a:pt x="66" y="213"/>
                    <a:pt x="0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cxnSp>
        <p:nvCxnSpPr>
          <p:cNvPr id="21" name="Straight Connector 9"/>
          <p:cNvCxnSpPr/>
          <p:nvPr/>
        </p:nvCxnSpPr>
        <p:spPr>
          <a:xfrm>
            <a:off x="0" y="977900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11472863" y="6453188"/>
            <a:ext cx="719137" cy="338137"/>
          </a:xfrm>
          <a:prstGeom prst="rect">
            <a:avLst/>
          </a:prstGeom>
          <a:noFill/>
        </p:spPr>
        <p:txBody>
          <a:bodyPr lIns="121917" tIns="60958" rIns="121917" bIns="60958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fld id="{746D0519-EE10-41F6-806A-5CEC55F05134}" type="slidenum">
              <a:rPr lang="ru-RU" smtClean="0">
                <a:solidFill>
                  <a:srgbClr val="000000"/>
                </a:solidFill>
              </a:rPr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" y="84682"/>
            <a:ext cx="12191988" cy="734047"/>
          </a:xfrm>
        </p:spPr>
        <p:txBody>
          <a:bodyPr/>
          <a:lstStyle>
            <a:lvl1pPr>
              <a:defRPr sz="530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9667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0021C4-63AA-4F64-BABE-F98CE2DFCE95}" type="datetimeFigureOut">
              <a:rPr lang="ru-RU"/>
              <a:pPr>
                <a:defRPr/>
              </a:pPr>
              <a:t>06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CE6018-64A6-4205-BD84-18EA6AF837E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7188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E5477E-1FAD-4CF1-8F04-C866C2BB42EB}" type="datetimeFigureOut">
              <a:rPr lang="ru-RU"/>
              <a:pPr>
                <a:defRPr/>
              </a:pPr>
              <a:t>06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90C15-CF30-4507-87FE-2D995DDC84B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11384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832CAB-ADCF-4325-96DC-208F31CB878C}" type="datetimeFigureOut">
              <a:rPr lang="ru-RU"/>
              <a:pPr>
                <a:defRPr/>
              </a:pPr>
              <a:t>06.09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AF1D7E-75B9-4342-811C-640BA4DA05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03012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6708A3-14C0-4B37-AF23-B47B964EEB42}" type="datetimeFigureOut">
              <a:rPr lang="ru-RU"/>
              <a:pPr>
                <a:defRPr/>
              </a:pPr>
              <a:t>06.09.2021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91E09-8489-4195-B448-194CA726574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23901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0408F5-101B-4897-BE45-E82FD7D4F2EF}" type="datetimeFigureOut">
              <a:rPr lang="ru-RU"/>
              <a:pPr>
                <a:defRPr/>
              </a:pPr>
              <a:t>06.09.2021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805E52-2E1F-4854-AEE8-A1CD8222015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67238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 userDrawn="1"/>
        </p:nvGrpSpPr>
        <p:grpSpPr>
          <a:xfrm>
            <a:off x="38100" y="69900"/>
            <a:ext cx="12153900" cy="965681"/>
            <a:chOff x="19050" y="69900"/>
            <a:chExt cx="12153900" cy="965681"/>
          </a:xfrm>
        </p:grpSpPr>
        <p:sp>
          <p:nvSpPr>
            <p:cNvPr id="6" name="Прямоугольник с двумя скругленными противолежащими углами 5"/>
            <p:cNvSpPr/>
            <p:nvPr/>
          </p:nvSpPr>
          <p:spPr>
            <a:xfrm>
              <a:off x="19050" y="69900"/>
              <a:ext cx="11849100" cy="835563"/>
            </a:xfrm>
            <a:prstGeom prst="round2DiagRect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Прямоугольник с двумя скругленными противолежащими углами 6"/>
            <p:cNvSpPr/>
            <p:nvPr/>
          </p:nvSpPr>
          <p:spPr>
            <a:xfrm>
              <a:off x="171450" y="128848"/>
              <a:ext cx="11849100" cy="835563"/>
            </a:xfrm>
            <a:prstGeom prst="round2DiagRect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Прямоугольник с двумя скругленными противолежащими углами 7"/>
            <p:cNvSpPr/>
            <p:nvPr/>
          </p:nvSpPr>
          <p:spPr>
            <a:xfrm>
              <a:off x="323850" y="200018"/>
              <a:ext cx="11849100" cy="835563"/>
            </a:xfrm>
            <a:prstGeom prst="round2DiagRect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>
              <a:outerShdw blurRad="254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403130" y="325496"/>
            <a:ext cx="1293037" cy="504825"/>
            <a:chOff x="342900" y="292100"/>
            <a:chExt cx="1293037" cy="504825"/>
          </a:xfrm>
        </p:grpSpPr>
        <p:pic>
          <p:nvPicPr>
            <p:cNvPr id="10" name="Picture 2" descr="C:\Users\User\Desktop\logo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900" y="292100"/>
              <a:ext cx="450850" cy="50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Прямоугольник 1"/>
            <p:cNvSpPr>
              <a:spLocks noChangeArrowheads="1"/>
            </p:cNvSpPr>
            <p:nvPr/>
          </p:nvSpPr>
          <p:spPr bwMode="auto">
            <a:xfrm>
              <a:off x="802500" y="292100"/>
              <a:ext cx="833437" cy="460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200" dirty="0">
                  <a:solidFill>
                    <a:srgbClr val="F2AC44"/>
                  </a:solidFill>
                </a:rPr>
                <a:t>Липецкая 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200" dirty="0">
                  <a:solidFill>
                    <a:srgbClr val="F2AC44"/>
                  </a:solidFill>
                </a:rPr>
                <a:t>область</a:t>
              </a:r>
            </a:p>
          </p:txBody>
        </p:sp>
      </p:grpSp>
      <p:grpSp>
        <p:nvGrpSpPr>
          <p:cNvPr id="20" name="Группа 19"/>
          <p:cNvGrpSpPr/>
          <p:nvPr userDrawn="1"/>
        </p:nvGrpSpPr>
        <p:grpSpPr>
          <a:xfrm>
            <a:off x="49157" y="6386737"/>
            <a:ext cx="12071385" cy="426716"/>
            <a:chOff x="255412" y="6300477"/>
            <a:chExt cx="11863784" cy="426716"/>
          </a:xfrm>
        </p:grpSpPr>
        <p:grpSp>
          <p:nvGrpSpPr>
            <p:cNvPr id="12" name="Группа 11"/>
            <p:cNvGrpSpPr/>
            <p:nvPr userDrawn="1"/>
          </p:nvGrpSpPr>
          <p:grpSpPr>
            <a:xfrm>
              <a:off x="257971" y="6300477"/>
              <a:ext cx="11857795" cy="369202"/>
              <a:chOff x="412646" y="5831885"/>
              <a:chExt cx="11828218" cy="691153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13" name="Параллелограмм 3"/>
              <p:cNvSpPr/>
              <p:nvPr userDrawn="1"/>
            </p:nvSpPr>
            <p:spPr>
              <a:xfrm>
                <a:off x="8973875" y="5831885"/>
                <a:ext cx="347873" cy="674414"/>
              </a:xfrm>
              <a:custGeom>
                <a:avLst/>
                <a:gdLst>
                  <a:gd name="connsiteX0" fmla="*/ 0 w 202018"/>
                  <a:gd name="connsiteY0" fmla="*/ 684000 h 684000"/>
                  <a:gd name="connsiteX1" fmla="*/ 50505 w 202018"/>
                  <a:gd name="connsiteY1" fmla="*/ 0 h 684000"/>
                  <a:gd name="connsiteX2" fmla="*/ 202018 w 202018"/>
                  <a:gd name="connsiteY2" fmla="*/ 0 h 684000"/>
                  <a:gd name="connsiteX3" fmla="*/ 151514 w 202018"/>
                  <a:gd name="connsiteY3" fmla="*/ 684000 h 684000"/>
                  <a:gd name="connsiteX4" fmla="*/ 0 w 202018"/>
                  <a:gd name="connsiteY4" fmla="*/ 684000 h 684000"/>
                  <a:gd name="connsiteX0" fmla="*/ 0 w 347873"/>
                  <a:gd name="connsiteY0" fmla="*/ 684000 h 684000"/>
                  <a:gd name="connsiteX1" fmla="*/ 50505 w 347873"/>
                  <a:gd name="connsiteY1" fmla="*/ 0 h 684000"/>
                  <a:gd name="connsiteX2" fmla="*/ 347873 w 347873"/>
                  <a:gd name="connsiteY2" fmla="*/ 11220 h 684000"/>
                  <a:gd name="connsiteX3" fmla="*/ 151514 w 347873"/>
                  <a:gd name="connsiteY3" fmla="*/ 684000 h 684000"/>
                  <a:gd name="connsiteX4" fmla="*/ 0 w 347873"/>
                  <a:gd name="connsiteY4" fmla="*/ 684000 h 684000"/>
                  <a:gd name="connsiteX0" fmla="*/ 0 w 347873"/>
                  <a:gd name="connsiteY0" fmla="*/ 672780 h 672780"/>
                  <a:gd name="connsiteX1" fmla="*/ 207580 w 347873"/>
                  <a:gd name="connsiteY1" fmla="*/ 5610 h 672780"/>
                  <a:gd name="connsiteX2" fmla="*/ 347873 w 347873"/>
                  <a:gd name="connsiteY2" fmla="*/ 0 h 672780"/>
                  <a:gd name="connsiteX3" fmla="*/ 151514 w 347873"/>
                  <a:gd name="connsiteY3" fmla="*/ 672780 h 672780"/>
                  <a:gd name="connsiteX4" fmla="*/ 0 w 347873"/>
                  <a:gd name="connsiteY4" fmla="*/ 672780 h 672780"/>
                  <a:gd name="connsiteX0" fmla="*/ 0 w 347873"/>
                  <a:gd name="connsiteY0" fmla="*/ 678390 h 678390"/>
                  <a:gd name="connsiteX1" fmla="*/ 185141 w 347873"/>
                  <a:gd name="connsiteY1" fmla="*/ 0 h 678390"/>
                  <a:gd name="connsiteX2" fmla="*/ 347873 w 347873"/>
                  <a:gd name="connsiteY2" fmla="*/ 5610 h 678390"/>
                  <a:gd name="connsiteX3" fmla="*/ 151514 w 347873"/>
                  <a:gd name="connsiteY3" fmla="*/ 678390 h 678390"/>
                  <a:gd name="connsiteX4" fmla="*/ 0 w 347873"/>
                  <a:gd name="connsiteY4" fmla="*/ 678390 h 678390"/>
                  <a:gd name="connsiteX0" fmla="*/ 0 w 347873"/>
                  <a:gd name="connsiteY0" fmla="*/ 674414 h 674414"/>
                  <a:gd name="connsiteX1" fmla="*/ 201043 w 347873"/>
                  <a:gd name="connsiteY1" fmla="*/ 0 h 674414"/>
                  <a:gd name="connsiteX2" fmla="*/ 347873 w 347873"/>
                  <a:gd name="connsiteY2" fmla="*/ 1634 h 674414"/>
                  <a:gd name="connsiteX3" fmla="*/ 151514 w 347873"/>
                  <a:gd name="connsiteY3" fmla="*/ 674414 h 674414"/>
                  <a:gd name="connsiteX4" fmla="*/ 0 w 347873"/>
                  <a:gd name="connsiteY4" fmla="*/ 674414 h 674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7873" h="674414">
                    <a:moveTo>
                      <a:pt x="0" y="674414"/>
                    </a:moveTo>
                    <a:lnTo>
                      <a:pt x="201043" y="0"/>
                    </a:lnTo>
                    <a:lnTo>
                      <a:pt x="347873" y="1634"/>
                    </a:lnTo>
                    <a:lnTo>
                      <a:pt x="151514" y="674414"/>
                    </a:lnTo>
                    <a:lnTo>
                      <a:pt x="0" y="67441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4" name="Прямоугольник 13"/>
              <p:cNvSpPr/>
              <p:nvPr/>
            </p:nvSpPr>
            <p:spPr>
              <a:xfrm>
                <a:off x="412646" y="6408682"/>
                <a:ext cx="8717275" cy="11435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5" name="Прямоугольник 14"/>
              <p:cNvSpPr/>
              <p:nvPr/>
            </p:nvSpPr>
            <p:spPr>
              <a:xfrm>
                <a:off x="9276283" y="5832130"/>
                <a:ext cx="2964581" cy="11435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16" name="Группа 15"/>
            <p:cNvGrpSpPr/>
            <p:nvPr userDrawn="1"/>
          </p:nvGrpSpPr>
          <p:grpSpPr>
            <a:xfrm>
              <a:off x="255412" y="6357991"/>
              <a:ext cx="11863784" cy="369202"/>
              <a:chOff x="283887" y="5848033"/>
              <a:chExt cx="11834186" cy="691153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Параллелограмм 3"/>
              <p:cNvSpPr/>
              <p:nvPr/>
            </p:nvSpPr>
            <p:spPr>
              <a:xfrm>
                <a:off x="8965418" y="5848033"/>
                <a:ext cx="347873" cy="674413"/>
              </a:xfrm>
              <a:custGeom>
                <a:avLst/>
                <a:gdLst>
                  <a:gd name="connsiteX0" fmla="*/ 0 w 202018"/>
                  <a:gd name="connsiteY0" fmla="*/ 684000 h 684000"/>
                  <a:gd name="connsiteX1" fmla="*/ 50505 w 202018"/>
                  <a:gd name="connsiteY1" fmla="*/ 0 h 684000"/>
                  <a:gd name="connsiteX2" fmla="*/ 202018 w 202018"/>
                  <a:gd name="connsiteY2" fmla="*/ 0 h 684000"/>
                  <a:gd name="connsiteX3" fmla="*/ 151514 w 202018"/>
                  <a:gd name="connsiteY3" fmla="*/ 684000 h 684000"/>
                  <a:gd name="connsiteX4" fmla="*/ 0 w 202018"/>
                  <a:gd name="connsiteY4" fmla="*/ 684000 h 684000"/>
                  <a:gd name="connsiteX0" fmla="*/ 0 w 347873"/>
                  <a:gd name="connsiteY0" fmla="*/ 684000 h 684000"/>
                  <a:gd name="connsiteX1" fmla="*/ 50505 w 347873"/>
                  <a:gd name="connsiteY1" fmla="*/ 0 h 684000"/>
                  <a:gd name="connsiteX2" fmla="*/ 347873 w 347873"/>
                  <a:gd name="connsiteY2" fmla="*/ 11220 h 684000"/>
                  <a:gd name="connsiteX3" fmla="*/ 151514 w 347873"/>
                  <a:gd name="connsiteY3" fmla="*/ 684000 h 684000"/>
                  <a:gd name="connsiteX4" fmla="*/ 0 w 347873"/>
                  <a:gd name="connsiteY4" fmla="*/ 684000 h 684000"/>
                  <a:gd name="connsiteX0" fmla="*/ 0 w 347873"/>
                  <a:gd name="connsiteY0" fmla="*/ 672780 h 672780"/>
                  <a:gd name="connsiteX1" fmla="*/ 207580 w 347873"/>
                  <a:gd name="connsiteY1" fmla="*/ 5610 h 672780"/>
                  <a:gd name="connsiteX2" fmla="*/ 347873 w 347873"/>
                  <a:gd name="connsiteY2" fmla="*/ 0 h 672780"/>
                  <a:gd name="connsiteX3" fmla="*/ 151514 w 347873"/>
                  <a:gd name="connsiteY3" fmla="*/ 672780 h 672780"/>
                  <a:gd name="connsiteX4" fmla="*/ 0 w 347873"/>
                  <a:gd name="connsiteY4" fmla="*/ 672780 h 672780"/>
                  <a:gd name="connsiteX0" fmla="*/ 0 w 347873"/>
                  <a:gd name="connsiteY0" fmla="*/ 678390 h 678390"/>
                  <a:gd name="connsiteX1" fmla="*/ 185141 w 347873"/>
                  <a:gd name="connsiteY1" fmla="*/ 0 h 678390"/>
                  <a:gd name="connsiteX2" fmla="*/ 347873 w 347873"/>
                  <a:gd name="connsiteY2" fmla="*/ 5610 h 678390"/>
                  <a:gd name="connsiteX3" fmla="*/ 151514 w 347873"/>
                  <a:gd name="connsiteY3" fmla="*/ 678390 h 678390"/>
                  <a:gd name="connsiteX4" fmla="*/ 0 w 347873"/>
                  <a:gd name="connsiteY4" fmla="*/ 678390 h 678390"/>
                  <a:gd name="connsiteX0" fmla="*/ 0 w 347873"/>
                  <a:gd name="connsiteY0" fmla="*/ 674414 h 674414"/>
                  <a:gd name="connsiteX1" fmla="*/ 201043 w 347873"/>
                  <a:gd name="connsiteY1" fmla="*/ 0 h 674414"/>
                  <a:gd name="connsiteX2" fmla="*/ 347873 w 347873"/>
                  <a:gd name="connsiteY2" fmla="*/ 1634 h 674414"/>
                  <a:gd name="connsiteX3" fmla="*/ 151514 w 347873"/>
                  <a:gd name="connsiteY3" fmla="*/ 674414 h 674414"/>
                  <a:gd name="connsiteX4" fmla="*/ 0 w 347873"/>
                  <a:gd name="connsiteY4" fmla="*/ 674414 h 674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7873" h="674414">
                    <a:moveTo>
                      <a:pt x="0" y="674414"/>
                    </a:moveTo>
                    <a:lnTo>
                      <a:pt x="201043" y="0"/>
                    </a:lnTo>
                    <a:lnTo>
                      <a:pt x="347873" y="1634"/>
                    </a:lnTo>
                    <a:lnTo>
                      <a:pt x="151514" y="674414"/>
                    </a:lnTo>
                    <a:lnTo>
                      <a:pt x="0" y="674414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8" name="Прямоугольник 17"/>
              <p:cNvSpPr/>
              <p:nvPr/>
            </p:nvSpPr>
            <p:spPr>
              <a:xfrm>
                <a:off x="283887" y="6424830"/>
                <a:ext cx="8823149" cy="114356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381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9" name="Прямоугольник 18"/>
              <p:cNvSpPr/>
              <p:nvPr/>
            </p:nvSpPr>
            <p:spPr>
              <a:xfrm>
                <a:off x="9259371" y="5848278"/>
                <a:ext cx="2858702" cy="114356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381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59421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648444-2A7E-4ACB-B707-8CEA39D2F8D5}" type="datetimeFigureOut">
              <a:rPr lang="ru-RU"/>
              <a:pPr>
                <a:defRPr/>
              </a:pPr>
              <a:t>06.09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653D28-95EE-4953-BD8E-7E12D9C249D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39334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D00302-09B8-419F-9C37-B1D3A924EB40}" type="datetimeFigureOut">
              <a:rPr lang="ru-RU"/>
              <a:pPr>
                <a:defRPr/>
              </a:pPr>
              <a:t>06.09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362354-48BA-4A78-AE1E-1C49D9E5C2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53029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60DDBF4-B050-41FF-A86F-D3C1A278CF9F}" type="datetimeFigureOut">
              <a:rPr lang="ru-RU"/>
              <a:pPr>
                <a:defRPr/>
              </a:pPr>
              <a:t>06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358045-72D0-44A6-AC05-51CE2AB478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Объект 2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9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Прямая соединительная линия 23"/>
          <p:cNvCxnSpPr/>
          <p:nvPr userDrawn="1"/>
        </p:nvCxnSpPr>
        <p:spPr>
          <a:xfrm>
            <a:off x="0" y="552450"/>
            <a:ext cx="12199938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Группа 24"/>
          <p:cNvGrpSpPr/>
          <p:nvPr userDrawn="1"/>
        </p:nvGrpSpPr>
        <p:grpSpPr>
          <a:xfrm>
            <a:off x="10420004" y="103661"/>
            <a:ext cx="1682560" cy="394220"/>
            <a:chOff x="8014653" y="219761"/>
            <a:chExt cx="1033002" cy="204973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8014653" y="268599"/>
              <a:ext cx="209412" cy="156135"/>
            </a:xfrm>
            <a:custGeom>
              <a:avLst/>
              <a:gdLst>
                <a:gd name="T0" fmla="*/ 959 w 1043"/>
                <a:gd name="T1" fmla="*/ 0 h 775"/>
                <a:gd name="T2" fmla="*/ 892 w 1043"/>
                <a:gd name="T3" fmla="*/ 556 h 775"/>
                <a:gd name="T4" fmla="*/ 324 w 1043"/>
                <a:gd name="T5" fmla="*/ 693 h 775"/>
                <a:gd name="T6" fmla="*/ 10 w 1043"/>
                <a:gd name="T7" fmla="*/ 197 h 775"/>
                <a:gd name="T8" fmla="*/ 64 w 1043"/>
                <a:gd name="T9" fmla="*/ 225 h 775"/>
                <a:gd name="T10" fmla="*/ 296 w 1043"/>
                <a:gd name="T11" fmla="*/ 359 h 775"/>
                <a:gd name="T12" fmla="*/ 334 w 1043"/>
                <a:gd name="T13" fmla="*/ 359 h 775"/>
                <a:gd name="T14" fmla="*/ 771 w 1043"/>
                <a:gd name="T15" fmla="*/ 107 h 775"/>
                <a:gd name="T16" fmla="*/ 959 w 1043"/>
                <a:gd name="T17" fmla="*/ 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3" h="775">
                  <a:moveTo>
                    <a:pt x="959" y="0"/>
                  </a:moveTo>
                  <a:cubicBezTo>
                    <a:pt x="1043" y="154"/>
                    <a:pt x="1037" y="391"/>
                    <a:pt x="892" y="556"/>
                  </a:cubicBezTo>
                  <a:cubicBezTo>
                    <a:pt x="749" y="719"/>
                    <a:pt x="528" y="775"/>
                    <a:pt x="324" y="693"/>
                  </a:cubicBezTo>
                  <a:cubicBezTo>
                    <a:pt x="120" y="611"/>
                    <a:pt x="0" y="417"/>
                    <a:pt x="10" y="197"/>
                  </a:cubicBezTo>
                  <a:cubicBezTo>
                    <a:pt x="29" y="207"/>
                    <a:pt x="47" y="215"/>
                    <a:pt x="64" y="225"/>
                  </a:cubicBezTo>
                  <a:cubicBezTo>
                    <a:pt x="141" y="270"/>
                    <a:pt x="219" y="314"/>
                    <a:pt x="296" y="359"/>
                  </a:cubicBezTo>
                  <a:cubicBezTo>
                    <a:pt x="310" y="368"/>
                    <a:pt x="320" y="367"/>
                    <a:pt x="334" y="359"/>
                  </a:cubicBezTo>
                  <a:cubicBezTo>
                    <a:pt x="479" y="275"/>
                    <a:pt x="625" y="191"/>
                    <a:pt x="771" y="107"/>
                  </a:cubicBezTo>
                  <a:cubicBezTo>
                    <a:pt x="833" y="72"/>
                    <a:pt x="895" y="36"/>
                    <a:pt x="9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8278823" y="378855"/>
              <a:ext cx="768832" cy="9620"/>
            </a:xfrm>
            <a:custGeom>
              <a:avLst/>
              <a:gdLst>
                <a:gd name="T0" fmla="*/ 0 w 3824"/>
                <a:gd name="T1" fmla="*/ 49 h 49"/>
                <a:gd name="T2" fmla="*/ 0 w 3824"/>
                <a:gd name="T3" fmla="*/ 0 h 49"/>
                <a:gd name="T4" fmla="*/ 3824 w 3824"/>
                <a:gd name="T5" fmla="*/ 0 h 49"/>
                <a:gd name="T6" fmla="*/ 3824 w 3824"/>
                <a:gd name="T7" fmla="*/ 49 h 49"/>
                <a:gd name="T8" fmla="*/ 0 w 382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4" h="49">
                  <a:moveTo>
                    <a:pt x="0" y="49"/>
                  </a:moveTo>
                  <a:cubicBezTo>
                    <a:pt x="0" y="32"/>
                    <a:pt x="0" y="17"/>
                    <a:pt x="0" y="0"/>
                  </a:cubicBezTo>
                  <a:cubicBezTo>
                    <a:pt x="1275" y="0"/>
                    <a:pt x="2549" y="0"/>
                    <a:pt x="3824" y="0"/>
                  </a:cubicBezTo>
                  <a:cubicBezTo>
                    <a:pt x="3824" y="17"/>
                    <a:pt x="3824" y="32"/>
                    <a:pt x="3824" y="49"/>
                  </a:cubicBezTo>
                  <a:cubicBezTo>
                    <a:pt x="2550" y="49"/>
                    <a:pt x="1276" y="49"/>
                    <a:pt x="0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8" name="Freeform 8"/>
            <p:cNvSpPr>
              <a:spLocks/>
            </p:cNvSpPr>
            <p:nvPr/>
          </p:nvSpPr>
          <p:spPr bwMode="auto">
            <a:xfrm>
              <a:off x="8836023" y="247880"/>
              <a:ext cx="97676" cy="103596"/>
            </a:xfrm>
            <a:custGeom>
              <a:avLst/>
              <a:gdLst>
                <a:gd name="T0" fmla="*/ 479 w 486"/>
                <a:gd name="T1" fmla="*/ 514 h 514"/>
                <a:gd name="T2" fmla="*/ 315 w 486"/>
                <a:gd name="T3" fmla="*/ 514 h 514"/>
                <a:gd name="T4" fmla="*/ 314 w 486"/>
                <a:gd name="T5" fmla="*/ 507 h 514"/>
                <a:gd name="T6" fmla="*/ 345 w 486"/>
                <a:gd name="T7" fmla="*/ 433 h 514"/>
                <a:gd name="T8" fmla="*/ 345 w 486"/>
                <a:gd name="T9" fmla="*/ 251 h 514"/>
                <a:gd name="T10" fmla="*/ 140 w 486"/>
                <a:gd name="T11" fmla="*/ 251 h 514"/>
                <a:gd name="T12" fmla="*/ 140 w 486"/>
                <a:gd name="T13" fmla="*/ 311 h 514"/>
                <a:gd name="T14" fmla="*/ 140 w 486"/>
                <a:gd name="T15" fmla="*/ 439 h 514"/>
                <a:gd name="T16" fmla="*/ 170 w 486"/>
                <a:gd name="T17" fmla="*/ 513 h 514"/>
                <a:gd name="T18" fmla="*/ 0 w 486"/>
                <a:gd name="T19" fmla="*/ 513 h 514"/>
                <a:gd name="T20" fmla="*/ 28 w 486"/>
                <a:gd name="T21" fmla="*/ 431 h 514"/>
                <a:gd name="T22" fmla="*/ 29 w 486"/>
                <a:gd name="T23" fmla="*/ 63 h 514"/>
                <a:gd name="T24" fmla="*/ 1 w 486"/>
                <a:gd name="T25" fmla="*/ 10 h 514"/>
                <a:gd name="T26" fmla="*/ 0 w 486"/>
                <a:gd name="T27" fmla="*/ 0 h 514"/>
                <a:gd name="T28" fmla="*/ 167 w 486"/>
                <a:gd name="T29" fmla="*/ 0 h 514"/>
                <a:gd name="T30" fmla="*/ 168 w 486"/>
                <a:gd name="T31" fmla="*/ 7 h 514"/>
                <a:gd name="T32" fmla="*/ 140 w 486"/>
                <a:gd name="T33" fmla="*/ 73 h 514"/>
                <a:gd name="T34" fmla="*/ 140 w 486"/>
                <a:gd name="T35" fmla="*/ 217 h 514"/>
                <a:gd name="T36" fmla="*/ 331 w 486"/>
                <a:gd name="T37" fmla="*/ 216 h 514"/>
                <a:gd name="T38" fmla="*/ 344 w 486"/>
                <a:gd name="T39" fmla="*/ 198 h 514"/>
                <a:gd name="T40" fmla="*/ 344 w 486"/>
                <a:gd name="T41" fmla="*/ 51 h 514"/>
                <a:gd name="T42" fmla="*/ 323 w 486"/>
                <a:gd name="T43" fmla="*/ 15 h 514"/>
                <a:gd name="T44" fmla="*/ 306 w 486"/>
                <a:gd name="T45" fmla="*/ 0 h 514"/>
                <a:gd name="T46" fmla="*/ 486 w 486"/>
                <a:gd name="T47" fmla="*/ 0 h 514"/>
                <a:gd name="T48" fmla="*/ 476 w 486"/>
                <a:gd name="T49" fmla="*/ 13 h 514"/>
                <a:gd name="T50" fmla="*/ 452 w 486"/>
                <a:gd name="T51" fmla="*/ 56 h 514"/>
                <a:gd name="T52" fmla="*/ 453 w 486"/>
                <a:gd name="T53" fmla="*/ 459 h 514"/>
                <a:gd name="T54" fmla="*/ 479 w 486"/>
                <a:gd name="T55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6" h="514">
                  <a:moveTo>
                    <a:pt x="479" y="514"/>
                  </a:moveTo>
                  <a:cubicBezTo>
                    <a:pt x="426" y="514"/>
                    <a:pt x="370" y="514"/>
                    <a:pt x="315" y="514"/>
                  </a:cubicBezTo>
                  <a:cubicBezTo>
                    <a:pt x="314" y="511"/>
                    <a:pt x="313" y="508"/>
                    <a:pt x="314" y="507"/>
                  </a:cubicBezTo>
                  <a:cubicBezTo>
                    <a:pt x="346" y="492"/>
                    <a:pt x="345" y="463"/>
                    <a:pt x="345" y="433"/>
                  </a:cubicBezTo>
                  <a:cubicBezTo>
                    <a:pt x="344" y="373"/>
                    <a:pt x="345" y="313"/>
                    <a:pt x="345" y="251"/>
                  </a:cubicBezTo>
                  <a:cubicBezTo>
                    <a:pt x="276" y="251"/>
                    <a:pt x="210" y="251"/>
                    <a:pt x="140" y="251"/>
                  </a:cubicBezTo>
                  <a:cubicBezTo>
                    <a:pt x="140" y="271"/>
                    <a:pt x="140" y="291"/>
                    <a:pt x="140" y="311"/>
                  </a:cubicBezTo>
                  <a:cubicBezTo>
                    <a:pt x="140" y="354"/>
                    <a:pt x="140" y="397"/>
                    <a:pt x="140" y="439"/>
                  </a:cubicBezTo>
                  <a:cubicBezTo>
                    <a:pt x="140" y="479"/>
                    <a:pt x="140" y="479"/>
                    <a:pt x="170" y="513"/>
                  </a:cubicBezTo>
                  <a:cubicBezTo>
                    <a:pt x="112" y="513"/>
                    <a:pt x="56" y="513"/>
                    <a:pt x="0" y="513"/>
                  </a:cubicBezTo>
                  <a:cubicBezTo>
                    <a:pt x="39" y="494"/>
                    <a:pt x="28" y="460"/>
                    <a:pt x="28" y="431"/>
                  </a:cubicBezTo>
                  <a:cubicBezTo>
                    <a:pt x="28" y="308"/>
                    <a:pt x="28" y="185"/>
                    <a:pt x="29" y="63"/>
                  </a:cubicBezTo>
                  <a:cubicBezTo>
                    <a:pt x="29" y="39"/>
                    <a:pt x="29" y="18"/>
                    <a:pt x="1" y="10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56" y="0"/>
                    <a:pt x="112" y="0"/>
                    <a:pt x="167" y="0"/>
                  </a:cubicBezTo>
                  <a:cubicBezTo>
                    <a:pt x="168" y="4"/>
                    <a:pt x="168" y="7"/>
                    <a:pt x="168" y="7"/>
                  </a:cubicBezTo>
                  <a:cubicBezTo>
                    <a:pt x="135" y="19"/>
                    <a:pt x="139" y="47"/>
                    <a:pt x="140" y="73"/>
                  </a:cubicBezTo>
                  <a:cubicBezTo>
                    <a:pt x="140" y="120"/>
                    <a:pt x="140" y="167"/>
                    <a:pt x="140" y="217"/>
                  </a:cubicBezTo>
                  <a:cubicBezTo>
                    <a:pt x="205" y="217"/>
                    <a:pt x="268" y="217"/>
                    <a:pt x="331" y="216"/>
                  </a:cubicBezTo>
                  <a:cubicBezTo>
                    <a:pt x="336" y="216"/>
                    <a:pt x="344" y="204"/>
                    <a:pt x="344" y="198"/>
                  </a:cubicBezTo>
                  <a:cubicBezTo>
                    <a:pt x="345" y="149"/>
                    <a:pt x="346" y="100"/>
                    <a:pt x="344" y="51"/>
                  </a:cubicBezTo>
                  <a:cubicBezTo>
                    <a:pt x="343" y="39"/>
                    <a:pt x="330" y="27"/>
                    <a:pt x="323" y="15"/>
                  </a:cubicBezTo>
                  <a:cubicBezTo>
                    <a:pt x="320" y="11"/>
                    <a:pt x="315" y="8"/>
                    <a:pt x="306" y="0"/>
                  </a:cubicBezTo>
                  <a:cubicBezTo>
                    <a:pt x="370" y="0"/>
                    <a:pt x="426" y="0"/>
                    <a:pt x="486" y="0"/>
                  </a:cubicBezTo>
                  <a:cubicBezTo>
                    <a:pt x="482" y="6"/>
                    <a:pt x="480" y="12"/>
                    <a:pt x="476" y="13"/>
                  </a:cubicBezTo>
                  <a:cubicBezTo>
                    <a:pt x="456" y="21"/>
                    <a:pt x="452" y="37"/>
                    <a:pt x="452" y="56"/>
                  </a:cubicBezTo>
                  <a:cubicBezTo>
                    <a:pt x="452" y="190"/>
                    <a:pt x="451" y="325"/>
                    <a:pt x="453" y="459"/>
                  </a:cubicBezTo>
                  <a:cubicBezTo>
                    <a:pt x="453" y="477"/>
                    <a:pt x="469" y="494"/>
                    <a:pt x="479" y="5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8639930" y="247880"/>
              <a:ext cx="86577" cy="104337"/>
            </a:xfrm>
            <a:custGeom>
              <a:avLst/>
              <a:gdLst>
                <a:gd name="T0" fmla="*/ 0 w 434"/>
                <a:gd name="T1" fmla="*/ 508 h 519"/>
                <a:gd name="T2" fmla="*/ 33 w 434"/>
                <a:gd name="T3" fmla="*/ 434 h 519"/>
                <a:gd name="T4" fmla="*/ 34 w 434"/>
                <a:gd name="T5" fmla="*/ 55 h 519"/>
                <a:gd name="T6" fmla="*/ 9 w 434"/>
                <a:gd name="T7" fmla="*/ 12 h 519"/>
                <a:gd name="T8" fmla="*/ 3 w 434"/>
                <a:gd name="T9" fmla="*/ 0 h 519"/>
                <a:gd name="T10" fmla="*/ 391 w 434"/>
                <a:gd name="T11" fmla="*/ 0 h 519"/>
                <a:gd name="T12" fmla="*/ 391 w 434"/>
                <a:gd name="T13" fmla="*/ 107 h 519"/>
                <a:gd name="T14" fmla="*/ 359 w 434"/>
                <a:gd name="T15" fmla="*/ 89 h 519"/>
                <a:gd name="T16" fmla="*/ 274 w 434"/>
                <a:gd name="T17" fmla="*/ 29 h 519"/>
                <a:gd name="T18" fmla="*/ 178 w 434"/>
                <a:gd name="T19" fmla="*/ 29 h 519"/>
                <a:gd name="T20" fmla="*/ 145 w 434"/>
                <a:gd name="T21" fmla="*/ 60 h 519"/>
                <a:gd name="T22" fmla="*/ 145 w 434"/>
                <a:gd name="T23" fmla="*/ 175 h 519"/>
                <a:gd name="T24" fmla="*/ 148 w 434"/>
                <a:gd name="T25" fmla="*/ 182 h 519"/>
                <a:gd name="T26" fmla="*/ 275 w 434"/>
                <a:gd name="T27" fmla="*/ 190 h 519"/>
                <a:gd name="T28" fmla="*/ 399 w 434"/>
                <a:gd name="T29" fmla="*/ 255 h 519"/>
                <a:gd name="T30" fmla="*/ 354 w 434"/>
                <a:gd name="T31" fmla="*/ 489 h 519"/>
                <a:gd name="T32" fmla="*/ 258 w 434"/>
                <a:gd name="T33" fmla="*/ 515 h 519"/>
                <a:gd name="T34" fmla="*/ 18 w 434"/>
                <a:gd name="T35" fmla="*/ 516 h 519"/>
                <a:gd name="T36" fmla="*/ 6 w 434"/>
                <a:gd name="T37" fmla="*/ 514 h 519"/>
                <a:gd name="T38" fmla="*/ 0 w 434"/>
                <a:gd name="T39" fmla="*/ 508 h 519"/>
                <a:gd name="T40" fmla="*/ 145 w 434"/>
                <a:gd name="T41" fmla="*/ 210 h 519"/>
                <a:gd name="T42" fmla="*/ 145 w 434"/>
                <a:gd name="T43" fmla="*/ 410 h 519"/>
                <a:gd name="T44" fmla="*/ 225 w 434"/>
                <a:gd name="T45" fmla="*/ 485 h 519"/>
                <a:gd name="T46" fmla="*/ 287 w 434"/>
                <a:gd name="T47" fmla="*/ 442 h 519"/>
                <a:gd name="T48" fmla="*/ 296 w 434"/>
                <a:gd name="T49" fmla="*/ 281 h 519"/>
                <a:gd name="T50" fmla="*/ 245 w 434"/>
                <a:gd name="T51" fmla="*/ 224 h 519"/>
                <a:gd name="T52" fmla="*/ 145 w 434"/>
                <a:gd name="T53" fmla="*/ 21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519">
                  <a:moveTo>
                    <a:pt x="0" y="508"/>
                  </a:moveTo>
                  <a:cubicBezTo>
                    <a:pt x="44" y="495"/>
                    <a:pt x="33" y="462"/>
                    <a:pt x="33" y="434"/>
                  </a:cubicBezTo>
                  <a:cubicBezTo>
                    <a:pt x="34" y="307"/>
                    <a:pt x="33" y="181"/>
                    <a:pt x="34" y="55"/>
                  </a:cubicBezTo>
                  <a:cubicBezTo>
                    <a:pt x="34" y="35"/>
                    <a:pt x="33" y="17"/>
                    <a:pt x="9" y="12"/>
                  </a:cubicBezTo>
                  <a:cubicBezTo>
                    <a:pt x="7" y="11"/>
                    <a:pt x="6" y="6"/>
                    <a:pt x="3" y="0"/>
                  </a:cubicBezTo>
                  <a:cubicBezTo>
                    <a:pt x="134" y="0"/>
                    <a:pt x="262" y="0"/>
                    <a:pt x="391" y="0"/>
                  </a:cubicBezTo>
                  <a:cubicBezTo>
                    <a:pt x="391" y="35"/>
                    <a:pt x="391" y="71"/>
                    <a:pt x="391" y="107"/>
                  </a:cubicBezTo>
                  <a:cubicBezTo>
                    <a:pt x="373" y="114"/>
                    <a:pt x="365" y="107"/>
                    <a:pt x="359" y="89"/>
                  </a:cubicBezTo>
                  <a:cubicBezTo>
                    <a:pt x="340" y="36"/>
                    <a:pt x="330" y="29"/>
                    <a:pt x="274" y="29"/>
                  </a:cubicBezTo>
                  <a:cubicBezTo>
                    <a:pt x="242" y="29"/>
                    <a:pt x="210" y="30"/>
                    <a:pt x="178" y="29"/>
                  </a:cubicBezTo>
                  <a:cubicBezTo>
                    <a:pt x="156" y="29"/>
                    <a:pt x="145" y="37"/>
                    <a:pt x="145" y="60"/>
                  </a:cubicBezTo>
                  <a:cubicBezTo>
                    <a:pt x="145" y="98"/>
                    <a:pt x="145" y="137"/>
                    <a:pt x="145" y="175"/>
                  </a:cubicBezTo>
                  <a:cubicBezTo>
                    <a:pt x="145" y="177"/>
                    <a:pt x="147" y="180"/>
                    <a:pt x="148" y="182"/>
                  </a:cubicBezTo>
                  <a:cubicBezTo>
                    <a:pt x="190" y="185"/>
                    <a:pt x="233" y="185"/>
                    <a:pt x="275" y="190"/>
                  </a:cubicBezTo>
                  <a:cubicBezTo>
                    <a:pt x="324" y="195"/>
                    <a:pt x="372" y="208"/>
                    <a:pt x="399" y="255"/>
                  </a:cubicBezTo>
                  <a:cubicBezTo>
                    <a:pt x="434" y="315"/>
                    <a:pt x="429" y="452"/>
                    <a:pt x="354" y="489"/>
                  </a:cubicBezTo>
                  <a:cubicBezTo>
                    <a:pt x="325" y="503"/>
                    <a:pt x="291" y="514"/>
                    <a:pt x="258" y="515"/>
                  </a:cubicBezTo>
                  <a:cubicBezTo>
                    <a:pt x="179" y="519"/>
                    <a:pt x="98" y="516"/>
                    <a:pt x="18" y="516"/>
                  </a:cubicBezTo>
                  <a:cubicBezTo>
                    <a:pt x="14" y="516"/>
                    <a:pt x="10" y="515"/>
                    <a:pt x="6" y="514"/>
                  </a:cubicBezTo>
                  <a:cubicBezTo>
                    <a:pt x="4" y="512"/>
                    <a:pt x="2" y="510"/>
                    <a:pt x="0" y="508"/>
                  </a:cubicBezTo>
                  <a:close/>
                  <a:moveTo>
                    <a:pt x="145" y="210"/>
                  </a:moveTo>
                  <a:cubicBezTo>
                    <a:pt x="145" y="282"/>
                    <a:pt x="145" y="346"/>
                    <a:pt x="145" y="410"/>
                  </a:cubicBezTo>
                  <a:cubicBezTo>
                    <a:pt x="145" y="486"/>
                    <a:pt x="149" y="490"/>
                    <a:pt x="225" y="485"/>
                  </a:cubicBezTo>
                  <a:cubicBezTo>
                    <a:pt x="254" y="483"/>
                    <a:pt x="275" y="469"/>
                    <a:pt x="287" y="442"/>
                  </a:cubicBezTo>
                  <a:cubicBezTo>
                    <a:pt x="310" y="389"/>
                    <a:pt x="309" y="335"/>
                    <a:pt x="296" y="281"/>
                  </a:cubicBezTo>
                  <a:cubicBezTo>
                    <a:pt x="290" y="255"/>
                    <a:pt x="272" y="231"/>
                    <a:pt x="245" y="224"/>
                  </a:cubicBezTo>
                  <a:cubicBezTo>
                    <a:pt x="214" y="217"/>
                    <a:pt x="181" y="215"/>
                    <a:pt x="145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0" name="Freeform 10"/>
            <p:cNvSpPr>
              <a:spLocks noEditPoints="1"/>
            </p:cNvSpPr>
            <p:nvPr/>
          </p:nvSpPr>
          <p:spPr bwMode="auto">
            <a:xfrm>
              <a:off x="8365400" y="247880"/>
              <a:ext cx="84357" cy="105076"/>
            </a:xfrm>
            <a:custGeom>
              <a:avLst/>
              <a:gdLst>
                <a:gd name="T0" fmla="*/ 0 w 418"/>
                <a:gd name="T1" fmla="*/ 510 h 521"/>
                <a:gd name="T2" fmla="*/ 32 w 418"/>
                <a:gd name="T3" fmla="*/ 421 h 521"/>
                <a:gd name="T4" fmla="*/ 32 w 418"/>
                <a:gd name="T5" fmla="*/ 63 h 521"/>
                <a:gd name="T6" fmla="*/ 7 w 418"/>
                <a:gd name="T7" fmla="*/ 12 h 521"/>
                <a:gd name="T8" fmla="*/ 5 w 418"/>
                <a:gd name="T9" fmla="*/ 0 h 521"/>
                <a:gd name="T10" fmla="*/ 388 w 418"/>
                <a:gd name="T11" fmla="*/ 0 h 521"/>
                <a:gd name="T12" fmla="*/ 388 w 418"/>
                <a:gd name="T13" fmla="*/ 108 h 521"/>
                <a:gd name="T14" fmla="*/ 357 w 418"/>
                <a:gd name="T15" fmla="*/ 89 h 521"/>
                <a:gd name="T16" fmla="*/ 278 w 418"/>
                <a:gd name="T17" fmla="*/ 30 h 521"/>
                <a:gd name="T18" fmla="*/ 171 w 418"/>
                <a:gd name="T19" fmla="*/ 30 h 521"/>
                <a:gd name="T20" fmla="*/ 144 w 418"/>
                <a:gd name="T21" fmla="*/ 55 h 521"/>
                <a:gd name="T22" fmla="*/ 144 w 418"/>
                <a:gd name="T23" fmla="*/ 186 h 521"/>
                <a:gd name="T24" fmla="*/ 225 w 418"/>
                <a:gd name="T25" fmla="*/ 186 h 521"/>
                <a:gd name="T26" fmla="*/ 329 w 418"/>
                <a:gd name="T27" fmla="*/ 204 h 521"/>
                <a:gd name="T28" fmla="*/ 415 w 418"/>
                <a:gd name="T29" fmla="*/ 313 h 521"/>
                <a:gd name="T30" fmla="*/ 411 w 418"/>
                <a:gd name="T31" fmla="*/ 400 h 521"/>
                <a:gd name="T32" fmla="*/ 306 w 418"/>
                <a:gd name="T33" fmla="*/ 508 h 521"/>
                <a:gd name="T34" fmla="*/ 7 w 418"/>
                <a:gd name="T35" fmla="*/ 521 h 521"/>
                <a:gd name="T36" fmla="*/ 0 w 418"/>
                <a:gd name="T37" fmla="*/ 510 h 521"/>
                <a:gd name="T38" fmla="*/ 144 w 418"/>
                <a:gd name="T39" fmla="*/ 212 h 521"/>
                <a:gd name="T40" fmla="*/ 144 w 418"/>
                <a:gd name="T41" fmla="*/ 414 h 521"/>
                <a:gd name="T42" fmla="*/ 216 w 418"/>
                <a:gd name="T43" fmla="*/ 486 h 521"/>
                <a:gd name="T44" fmla="*/ 291 w 418"/>
                <a:gd name="T45" fmla="*/ 430 h 521"/>
                <a:gd name="T46" fmla="*/ 293 w 418"/>
                <a:gd name="T47" fmla="*/ 282 h 521"/>
                <a:gd name="T48" fmla="*/ 243 w 418"/>
                <a:gd name="T49" fmla="*/ 225 h 521"/>
                <a:gd name="T50" fmla="*/ 144 w 418"/>
                <a:gd name="T51" fmla="*/ 212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8" h="521">
                  <a:moveTo>
                    <a:pt x="0" y="510"/>
                  </a:moveTo>
                  <a:cubicBezTo>
                    <a:pt x="47" y="491"/>
                    <a:pt x="31" y="453"/>
                    <a:pt x="32" y="421"/>
                  </a:cubicBezTo>
                  <a:cubicBezTo>
                    <a:pt x="33" y="302"/>
                    <a:pt x="32" y="182"/>
                    <a:pt x="32" y="63"/>
                  </a:cubicBezTo>
                  <a:cubicBezTo>
                    <a:pt x="32" y="42"/>
                    <a:pt x="34" y="20"/>
                    <a:pt x="7" y="12"/>
                  </a:cubicBezTo>
                  <a:cubicBezTo>
                    <a:pt x="6" y="11"/>
                    <a:pt x="6" y="5"/>
                    <a:pt x="5" y="0"/>
                  </a:cubicBezTo>
                  <a:cubicBezTo>
                    <a:pt x="133" y="0"/>
                    <a:pt x="259" y="0"/>
                    <a:pt x="388" y="0"/>
                  </a:cubicBezTo>
                  <a:cubicBezTo>
                    <a:pt x="388" y="36"/>
                    <a:pt x="388" y="72"/>
                    <a:pt x="388" y="108"/>
                  </a:cubicBezTo>
                  <a:cubicBezTo>
                    <a:pt x="369" y="115"/>
                    <a:pt x="362" y="108"/>
                    <a:pt x="357" y="89"/>
                  </a:cubicBezTo>
                  <a:cubicBezTo>
                    <a:pt x="345" y="45"/>
                    <a:pt x="324" y="30"/>
                    <a:pt x="278" y="30"/>
                  </a:cubicBezTo>
                  <a:cubicBezTo>
                    <a:pt x="243" y="30"/>
                    <a:pt x="207" y="30"/>
                    <a:pt x="171" y="30"/>
                  </a:cubicBezTo>
                  <a:cubicBezTo>
                    <a:pt x="154" y="30"/>
                    <a:pt x="144" y="37"/>
                    <a:pt x="144" y="55"/>
                  </a:cubicBezTo>
                  <a:cubicBezTo>
                    <a:pt x="144" y="97"/>
                    <a:pt x="144" y="140"/>
                    <a:pt x="144" y="186"/>
                  </a:cubicBezTo>
                  <a:cubicBezTo>
                    <a:pt x="172" y="186"/>
                    <a:pt x="199" y="184"/>
                    <a:pt x="225" y="186"/>
                  </a:cubicBezTo>
                  <a:cubicBezTo>
                    <a:pt x="260" y="190"/>
                    <a:pt x="295" y="194"/>
                    <a:pt x="329" y="204"/>
                  </a:cubicBezTo>
                  <a:cubicBezTo>
                    <a:pt x="383" y="218"/>
                    <a:pt x="409" y="260"/>
                    <a:pt x="415" y="313"/>
                  </a:cubicBezTo>
                  <a:cubicBezTo>
                    <a:pt x="418" y="341"/>
                    <a:pt x="415" y="371"/>
                    <a:pt x="411" y="400"/>
                  </a:cubicBezTo>
                  <a:cubicBezTo>
                    <a:pt x="403" y="461"/>
                    <a:pt x="364" y="502"/>
                    <a:pt x="306" y="508"/>
                  </a:cubicBezTo>
                  <a:cubicBezTo>
                    <a:pt x="207" y="518"/>
                    <a:pt x="107" y="517"/>
                    <a:pt x="7" y="521"/>
                  </a:cubicBezTo>
                  <a:cubicBezTo>
                    <a:pt x="5" y="517"/>
                    <a:pt x="3" y="514"/>
                    <a:pt x="0" y="510"/>
                  </a:cubicBezTo>
                  <a:close/>
                  <a:moveTo>
                    <a:pt x="144" y="212"/>
                  </a:moveTo>
                  <a:cubicBezTo>
                    <a:pt x="144" y="283"/>
                    <a:pt x="144" y="349"/>
                    <a:pt x="144" y="414"/>
                  </a:cubicBezTo>
                  <a:cubicBezTo>
                    <a:pt x="144" y="487"/>
                    <a:pt x="144" y="487"/>
                    <a:pt x="216" y="486"/>
                  </a:cubicBezTo>
                  <a:cubicBezTo>
                    <a:pt x="253" y="485"/>
                    <a:pt x="286" y="465"/>
                    <a:pt x="291" y="430"/>
                  </a:cubicBezTo>
                  <a:cubicBezTo>
                    <a:pt x="297" y="381"/>
                    <a:pt x="296" y="331"/>
                    <a:pt x="293" y="282"/>
                  </a:cubicBezTo>
                  <a:cubicBezTo>
                    <a:pt x="291" y="254"/>
                    <a:pt x="270" y="232"/>
                    <a:pt x="243" y="225"/>
                  </a:cubicBezTo>
                  <a:cubicBezTo>
                    <a:pt x="212" y="217"/>
                    <a:pt x="179" y="216"/>
                    <a:pt x="144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8549653" y="247140"/>
              <a:ext cx="82137" cy="104337"/>
            </a:xfrm>
            <a:custGeom>
              <a:avLst/>
              <a:gdLst>
                <a:gd name="T0" fmla="*/ 149 w 408"/>
                <a:gd name="T1" fmla="*/ 312 h 516"/>
                <a:gd name="T2" fmla="*/ 150 w 408"/>
                <a:gd name="T3" fmla="*/ 477 h 516"/>
                <a:gd name="T4" fmla="*/ 177 w 408"/>
                <a:gd name="T5" fmla="*/ 516 h 516"/>
                <a:gd name="T6" fmla="*/ 1 w 408"/>
                <a:gd name="T7" fmla="*/ 516 h 516"/>
                <a:gd name="T8" fmla="*/ 36 w 408"/>
                <a:gd name="T9" fmla="*/ 407 h 516"/>
                <a:gd name="T10" fmla="*/ 36 w 408"/>
                <a:gd name="T11" fmla="*/ 114 h 516"/>
                <a:gd name="T12" fmla="*/ 0 w 408"/>
                <a:gd name="T13" fmla="*/ 5 h 516"/>
                <a:gd name="T14" fmla="*/ 29 w 408"/>
                <a:gd name="T15" fmla="*/ 1 h 516"/>
                <a:gd name="T16" fmla="*/ 253 w 408"/>
                <a:gd name="T17" fmla="*/ 1 h 516"/>
                <a:gd name="T18" fmla="*/ 318 w 408"/>
                <a:gd name="T19" fmla="*/ 11 h 516"/>
                <a:gd name="T20" fmla="*/ 404 w 408"/>
                <a:gd name="T21" fmla="*/ 129 h 516"/>
                <a:gd name="T22" fmla="*/ 336 w 408"/>
                <a:gd name="T23" fmla="*/ 287 h 516"/>
                <a:gd name="T24" fmla="*/ 237 w 408"/>
                <a:gd name="T25" fmla="*/ 311 h 516"/>
                <a:gd name="T26" fmla="*/ 149 w 408"/>
                <a:gd name="T27" fmla="*/ 312 h 516"/>
                <a:gd name="T28" fmla="*/ 149 w 408"/>
                <a:gd name="T29" fmla="*/ 284 h 516"/>
                <a:gd name="T30" fmla="*/ 194 w 408"/>
                <a:gd name="T31" fmla="*/ 284 h 516"/>
                <a:gd name="T32" fmla="*/ 281 w 408"/>
                <a:gd name="T33" fmla="*/ 216 h 516"/>
                <a:gd name="T34" fmla="*/ 289 w 408"/>
                <a:gd name="T35" fmla="*/ 132 h 516"/>
                <a:gd name="T36" fmla="*/ 171 w 408"/>
                <a:gd name="T37" fmla="*/ 33 h 516"/>
                <a:gd name="T38" fmla="*/ 150 w 408"/>
                <a:gd name="T39" fmla="*/ 56 h 516"/>
                <a:gd name="T40" fmla="*/ 149 w 408"/>
                <a:gd name="T41" fmla="*/ 28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8" h="516">
                  <a:moveTo>
                    <a:pt x="149" y="312"/>
                  </a:moveTo>
                  <a:cubicBezTo>
                    <a:pt x="149" y="370"/>
                    <a:pt x="147" y="424"/>
                    <a:pt x="150" y="477"/>
                  </a:cubicBezTo>
                  <a:cubicBezTo>
                    <a:pt x="151" y="490"/>
                    <a:pt x="167" y="502"/>
                    <a:pt x="177" y="516"/>
                  </a:cubicBezTo>
                  <a:cubicBezTo>
                    <a:pt x="122" y="516"/>
                    <a:pt x="66" y="516"/>
                    <a:pt x="1" y="516"/>
                  </a:cubicBezTo>
                  <a:cubicBezTo>
                    <a:pt x="54" y="487"/>
                    <a:pt x="36" y="444"/>
                    <a:pt x="36" y="407"/>
                  </a:cubicBezTo>
                  <a:cubicBezTo>
                    <a:pt x="38" y="309"/>
                    <a:pt x="38" y="211"/>
                    <a:pt x="36" y="114"/>
                  </a:cubicBezTo>
                  <a:cubicBezTo>
                    <a:pt x="36" y="77"/>
                    <a:pt x="54" y="33"/>
                    <a:pt x="0" y="5"/>
                  </a:cubicBezTo>
                  <a:cubicBezTo>
                    <a:pt x="16" y="2"/>
                    <a:pt x="23" y="1"/>
                    <a:pt x="29" y="1"/>
                  </a:cubicBezTo>
                  <a:cubicBezTo>
                    <a:pt x="104" y="0"/>
                    <a:pt x="178" y="0"/>
                    <a:pt x="253" y="1"/>
                  </a:cubicBezTo>
                  <a:cubicBezTo>
                    <a:pt x="275" y="1"/>
                    <a:pt x="297" y="5"/>
                    <a:pt x="318" y="11"/>
                  </a:cubicBezTo>
                  <a:cubicBezTo>
                    <a:pt x="375" y="29"/>
                    <a:pt x="400" y="72"/>
                    <a:pt x="404" y="129"/>
                  </a:cubicBezTo>
                  <a:cubicBezTo>
                    <a:pt x="408" y="192"/>
                    <a:pt x="395" y="260"/>
                    <a:pt x="336" y="287"/>
                  </a:cubicBezTo>
                  <a:cubicBezTo>
                    <a:pt x="305" y="301"/>
                    <a:pt x="270" y="307"/>
                    <a:pt x="237" y="311"/>
                  </a:cubicBezTo>
                  <a:cubicBezTo>
                    <a:pt x="209" y="315"/>
                    <a:pt x="180" y="312"/>
                    <a:pt x="149" y="312"/>
                  </a:cubicBezTo>
                  <a:close/>
                  <a:moveTo>
                    <a:pt x="149" y="284"/>
                  </a:moveTo>
                  <a:cubicBezTo>
                    <a:pt x="166" y="284"/>
                    <a:pt x="180" y="284"/>
                    <a:pt x="194" y="284"/>
                  </a:cubicBezTo>
                  <a:cubicBezTo>
                    <a:pt x="245" y="283"/>
                    <a:pt x="270" y="265"/>
                    <a:pt x="281" y="216"/>
                  </a:cubicBezTo>
                  <a:cubicBezTo>
                    <a:pt x="287" y="188"/>
                    <a:pt x="291" y="160"/>
                    <a:pt x="289" y="132"/>
                  </a:cubicBezTo>
                  <a:cubicBezTo>
                    <a:pt x="285" y="54"/>
                    <a:pt x="249" y="25"/>
                    <a:pt x="171" y="33"/>
                  </a:cubicBezTo>
                  <a:cubicBezTo>
                    <a:pt x="163" y="34"/>
                    <a:pt x="150" y="48"/>
                    <a:pt x="150" y="56"/>
                  </a:cubicBezTo>
                  <a:cubicBezTo>
                    <a:pt x="148" y="130"/>
                    <a:pt x="149" y="205"/>
                    <a:pt x="1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8728727" y="247880"/>
              <a:ext cx="96936" cy="104337"/>
            </a:xfrm>
            <a:custGeom>
              <a:avLst/>
              <a:gdLst>
                <a:gd name="T0" fmla="*/ 0 w 479"/>
                <a:gd name="T1" fmla="*/ 517 h 518"/>
                <a:gd name="T2" fmla="*/ 172 w 479"/>
                <a:gd name="T3" fmla="*/ 99 h 518"/>
                <a:gd name="T4" fmla="*/ 183 w 479"/>
                <a:gd name="T5" fmla="*/ 61 h 518"/>
                <a:gd name="T6" fmla="*/ 161 w 479"/>
                <a:gd name="T7" fmla="*/ 13 h 518"/>
                <a:gd name="T8" fmla="*/ 155 w 479"/>
                <a:gd name="T9" fmla="*/ 0 h 518"/>
                <a:gd name="T10" fmla="*/ 297 w 479"/>
                <a:gd name="T11" fmla="*/ 0 h 518"/>
                <a:gd name="T12" fmla="*/ 479 w 479"/>
                <a:gd name="T13" fmla="*/ 516 h 518"/>
                <a:gd name="T14" fmla="*/ 360 w 479"/>
                <a:gd name="T15" fmla="*/ 516 h 518"/>
                <a:gd name="T16" fmla="*/ 307 w 479"/>
                <a:gd name="T17" fmla="*/ 352 h 518"/>
                <a:gd name="T18" fmla="*/ 278 w 479"/>
                <a:gd name="T19" fmla="*/ 329 h 518"/>
                <a:gd name="T20" fmla="*/ 155 w 479"/>
                <a:gd name="T21" fmla="*/ 329 h 518"/>
                <a:gd name="T22" fmla="*/ 125 w 479"/>
                <a:gd name="T23" fmla="*/ 352 h 518"/>
                <a:gd name="T24" fmla="*/ 88 w 479"/>
                <a:gd name="T25" fmla="*/ 498 h 518"/>
                <a:gd name="T26" fmla="*/ 66 w 479"/>
                <a:gd name="T27" fmla="*/ 518 h 518"/>
                <a:gd name="T28" fmla="*/ 0 w 479"/>
                <a:gd name="T29" fmla="*/ 517 h 518"/>
                <a:gd name="T30" fmla="*/ 221 w 479"/>
                <a:gd name="T31" fmla="*/ 91 h 518"/>
                <a:gd name="T32" fmla="*/ 215 w 479"/>
                <a:gd name="T33" fmla="*/ 91 h 518"/>
                <a:gd name="T34" fmla="*/ 144 w 479"/>
                <a:gd name="T35" fmla="*/ 296 h 518"/>
                <a:gd name="T36" fmla="*/ 289 w 479"/>
                <a:gd name="T37" fmla="*/ 296 h 518"/>
                <a:gd name="T38" fmla="*/ 221 w 479"/>
                <a:gd name="T39" fmla="*/ 9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9" h="518">
                  <a:moveTo>
                    <a:pt x="0" y="517"/>
                  </a:moveTo>
                  <a:cubicBezTo>
                    <a:pt x="58" y="376"/>
                    <a:pt x="115" y="238"/>
                    <a:pt x="172" y="99"/>
                  </a:cubicBezTo>
                  <a:cubicBezTo>
                    <a:pt x="177" y="87"/>
                    <a:pt x="181" y="74"/>
                    <a:pt x="183" y="61"/>
                  </a:cubicBezTo>
                  <a:cubicBezTo>
                    <a:pt x="186" y="41"/>
                    <a:pt x="186" y="21"/>
                    <a:pt x="161" y="13"/>
                  </a:cubicBezTo>
                  <a:cubicBezTo>
                    <a:pt x="159" y="13"/>
                    <a:pt x="158" y="6"/>
                    <a:pt x="155" y="0"/>
                  </a:cubicBezTo>
                  <a:cubicBezTo>
                    <a:pt x="205" y="0"/>
                    <a:pt x="253" y="0"/>
                    <a:pt x="297" y="0"/>
                  </a:cubicBezTo>
                  <a:cubicBezTo>
                    <a:pt x="358" y="173"/>
                    <a:pt x="418" y="344"/>
                    <a:pt x="479" y="516"/>
                  </a:cubicBezTo>
                  <a:cubicBezTo>
                    <a:pt x="442" y="516"/>
                    <a:pt x="401" y="516"/>
                    <a:pt x="360" y="516"/>
                  </a:cubicBezTo>
                  <a:cubicBezTo>
                    <a:pt x="342" y="461"/>
                    <a:pt x="324" y="407"/>
                    <a:pt x="307" y="352"/>
                  </a:cubicBezTo>
                  <a:cubicBezTo>
                    <a:pt x="302" y="336"/>
                    <a:pt x="296" y="329"/>
                    <a:pt x="278" y="329"/>
                  </a:cubicBezTo>
                  <a:cubicBezTo>
                    <a:pt x="237" y="331"/>
                    <a:pt x="196" y="331"/>
                    <a:pt x="155" y="329"/>
                  </a:cubicBezTo>
                  <a:cubicBezTo>
                    <a:pt x="137" y="329"/>
                    <a:pt x="129" y="336"/>
                    <a:pt x="125" y="352"/>
                  </a:cubicBezTo>
                  <a:cubicBezTo>
                    <a:pt x="113" y="400"/>
                    <a:pt x="100" y="449"/>
                    <a:pt x="88" y="498"/>
                  </a:cubicBezTo>
                  <a:cubicBezTo>
                    <a:pt x="85" y="510"/>
                    <a:pt x="81" y="518"/>
                    <a:pt x="66" y="518"/>
                  </a:cubicBezTo>
                  <a:cubicBezTo>
                    <a:pt x="43" y="517"/>
                    <a:pt x="20" y="517"/>
                    <a:pt x="0" y="517"/>
                  </a:cubicBezTo>
                  <a:close/>
                  <a:moveTo>
                    <a:pt x="221" y="91"/>
                  </a:moveTo>
                  <a:cubicBezTo>
                    <a:pt x="219" y="91"/>
                    <a:pt x="217" y="91"/>
                    <a:pt x="215" y="91"/>
                  </a:cubicBezTo>
                  <a:cubicBezTo>
                    <a:pt x="191" y="159"/>
                    <a:pt x="168" y="226"/>
                    <a:pt x="144" y="296"/>
                  </a:cubicBezTo>
                  <a:cubicBezTo>
                    <a:pt x="195" y="296"/>
                    <a:pt x="241" y="296"/>
                    <a:pt x="289" y="296"/>
                  </a:cubicBezTo>
                  <a:cubicBezTo>
                    <a:pt x="266" y="226"/>
                    <a:pt x="244" y="159"/>
                    <a:pt x="22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3" name="Freeform 13"/>
            <p:cNvSpPr>
              <a:spLocks/>
            </p:cNvSpPr>
            <p:nvPr/>
          </p:nvSpPr>
          <p:spPr bwMode="auto">
            <a:xfrm>
              <a:off x="8462337" y="247880"/>
              <a:ext cx="74737" cy="103596"/>
            </a:xfrm>
            <a:custGeom>
              <a:avLst/>
              <a:gdLst>
                <a:gd name="T0" fmla="*/ 0 w 371"/>
                <a:gd name="T1" fmla="*/ 0 h 516"/>
                <a:gd name="T2" fmla="*/ 358 w 371"/>
                <a:gd name="T3" fmla="*/ 0 h 516"/>
                <a:gd name="T4" fmla="*/ 358 w 371"/>
                <a:gd name="T5" fmla="*/ 108 h 516"/>
                <a:gd name="T6" fmla="*/ 328 w 371"/>
                <a:gd name="T7" fmla="*/ 92 h 516"/>
                <a:gd name="T8" fmla="*/ 244 w 371"/>
                <a:gd name="T9" fmla="*/ 30 h 516"/>
                <a:gd name="T10" fmla="*/ 159 w 371"/>
                <a:gd name="T11" fmla="*/ 31 h 516"/>
                <a:gd name="T12" fmla="*/ 140 w 371"/>
                <a:gd name="T13" fmla="*/ 49 h 516"/>
                <a:gd name="T14" fmla="*/ 139 w 371"/>
                <a:gd name="T15" fmla="*/ 220 h 516"/>
                <a:gd name="T16" fmla="*/ 297 w 371"/>
                <a:gd name="T17" fmla="*/ 211 h 516"/>
                <a:gd name="T18" fmla="*/ 297 w 371"/>
                <a:gd name="T19" fmla="*/ 256 h 516"/>
                <a:gd name="T20" fmla="*/ 139 w 371"/>
                <a:gd name="T21" fmla="*/ 247 h 516"/>
                <a:gd name="T22" fmla="*/ 139 w 371"/>
                <a:gd name="T23" fmla="*/ 296 h 516"/>
                <a:gd name="T24" fmla="*/ 139 w 371"/>
                <a:gd name="T25" fmla="*/ 445 h 516"/>
                <a:gd name="T26" fmla="*/ 175 w 371"/>
                <a:gd name="T27" fmla="*/ 485 h 516"/>
                <a:gd name="T28" fmla="*/ 282 w 371"/>
                <a:gd name="T29" fmla="*/ 485 h 516"/>
                <a:gd name="T30" fmla="*/ 328 w 371"/>
                <a:gd name="T31" fmla="*/ 447 h 516"/>
                <a:gd name="T32" fmla="*/ 343 w 371"/>
                <a:gd name="T33" fmla="*/ 400 h 516"/>
                <a:gd name="T34" fmla="*/ 371 w 371"/>
                <a:gd name="T35" fmla="*/ 400 h 516"/>
                <a:gd name="T36" fmla="*/ 371 w 371"/>
                <a:gd name="T37" fmla="*/ 516 h 516"/>
                <a:gd name="T38" fmla="*/ 2 w 371"/>
                <a:gd name="T39" fmla="*/ 516 h 516"/>
                <a:gd name="T40" fmla="*/ 1 w 371"/>
                <a:gd name="T41" fmla="*/ 510 h 516"/>
                <a:gd name="T42" fmla="*/ 28 w 371"/>
                <a:gd name="T43" fmla="*/ 433 h 516"/>
                <a:gd name="T44" fmla="*/ 28 w 371"/>
                <a:gd name="T45" fmla="*/ 65 h 516"/>
                <a:gd name="T46" fmla="*/ 2 w 371"/>
                <a:gd name="T47" fmla="*/ 12 h 516"/>
                <a:gd name="T48" fmla="*/ 0 w 371"/>
                <a:gd name="T49" fmla="*/ 0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1" h="516">
                  <a:moveTo>
                    <a:pt x="0" y="0"/>
                  </a:moveTo>
                  <a:cubicBezTo>
                    <a:pt x="120" y="0"/>
                    <a:pt x="238" y="0"/>
                    <a:pt x="358" y="0"/>
                  </a:cubicBezTo>
                  <a:cubicBezTo>
                    <a:pt x="358" y="36"/>
                    <a:pt x="358" y="72"/>
                    <a:pt x="358" y="108"/>
                  </a:cubicBezTo>
                  <a:cubicBezTo>
                    <a:pt x="341" y="114"/>
                    <a:pt x="333" y="109"/>
                    <a:pt x="328" y="92"/>
                  </a:cubicBezTo>
                  <a:cubicBezTo>
                    <a:pt x="313" y="40"/>
                    <a:pt x="298" y="30"/>
                    <a:pt x="244" y="30"/>
                  </a:cubicBezTo>
                  <a:cubicBezTo>
                    <a:pt x="216" y="30"/>
                    <a:pt x="187" y="29"/>
                    <a:pt x="159" y="31"/>
                  </a:cubicBezTo>
                  <a:cubicBezTo>
                    <a:pt x="152" y="32"/>
                    <a:pt x="140" y="42"/>
                    <a:pt x="140" y="49"/>
                  </a:cubicBezTo>
                  <a:cubicBezTo>
                    <a:pt x="139" y="104"/>
                    <a:pt x="139" y="159"/>
                    <a:pt x="139" y="220"/>
                  </a:cubicBezTo>
                  <a:cubicBezTo>
                    <a:pt x="193" y="217"/>
                    <a:pt x="244" y="214"/>
                    <a:pt x="297" y="211"/>
                  </a:cubicBezTo>
                  <a:cubicBezTo>
                    <a:pt x="297" y="224"/>
                    <a:pt x="297" y="241"/>
                    <a:pt x="297" y="256"/>
                  </a:cubicBezTo>
                  <a:cubicBezTo>
                    <a:pt x="247" y="253"/>
                    <a:pt x="195" y="250"/>
                    <a:pt x="139" y="247"/>
                  </a:cubicBezTo>
                  <a:cubicBezTo>
                    <a:pt x="139" y="266"/>
                    <a:pt x="139" y="281"/>
                    <a:pt x="139" y="296"/>
                  </a:cubicBezTo>
                  <a:cubicBezTo>
                    <a:pt x="139" y="346"/>
                    <a:pt x="140" y="395"/>
                    <a:pt x="139" y="445"/>
                  </a:cubicBezTo>
                  <a:cubicBezTo>
                    <a:pt x="138" y="472"/>
                    <a:pt x="152" y="484"/>
                    <a:pt x="175" y="485"/>
                  </a:cubicBezTo>
                  <a:cubicBezTo>
                    <a:pt x="210" y="487"/>
                    <a:pt x="246" y="487"/>
                    <a:pt x="282" y="485"/>
                  </a:cubicBezTo>
                  <a:cubicBezTo>
                    <a:pt x="305" y="484"/>
                    <a:pt x="321" y="470"/>
                    <a:pt x="328" y="447"/>
                  </a:cubicBezTo>
                  <a:cubicBezTo>
                    <a:pt x="333" y="431"/>
                    <a:pt x="338" y="416"/>
                    <a:pt x="343" y="400"/>
                  </a:cubicBezTo>
                  <a:cubicBezTo>
                    <a:pt x="352" y="400"/>
                    <a:pt x="361" y="400"/>
                    <a:pt x="371" y="400"/>
                  </a:cubicBezTo>
                  <a:cubicBezTo>
                    <a:pt x="371" y="439"/>
                    <a:pt x="371" y="477"/>
                    <a:pt x="371" y="516"/>
                  </a:cubicBezTo>
                  <a:cubicBezTo>
                    <a:pt x="247" y="516"/>
                    <a:pt x="124" y="516"/>
                    <a:pt x="2" y="516"/>
                  </a:cubicBezTo>
                  <a:cubicBezTo>
                    <a:pt x="2" y="513"/>
                    <a:pt x="0" y="510"/>
                    <a:pt x="1" y="510"/>
                  </a:cubicBezTo>
                  <a:cubicBezTo>
                    <a:pt x="31" y="492"/>
                    <a:pt x="28" y="462"/>
                    <a:pt x="28" y="433"/>
                  </a:cubicBezTo>
                  <a:cubicBezTo>
                    <a:pt x="27" y="311"/>
                    <a:pt x="27" y="188"/>
                    <a:pt x="28" y="65"/>
                  </a:cubicBezTo>
                  <a:cubicBezTo>
                    <a:pt x="28" y="43"/>
                    <a:pt x="28" y="22"/>
                    <a:pt x="2" y="12"/>
                  </a:cubicBezTo>
                  <a:cubicBezTo>
                    <a:pt x="1" y="12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4" name="Freeform 14"/>
            <p:cNvSpPr>
              <a:spLocks/>
            </p:cNvSpPr>
            <p:nvPr/>
          </p:nvSpPr>
          <p:spPr bwMode="auto">
            <a:xfrm>
              <a:off x="8269943" y="244920"/>
              <a:ext cx="86577" cy="109516"/>
            </a:xfrm>
            <a:custGeom>
              <a:avLst/>
              <a:gdLst>
                <a:gd name="T0" fmla="*/ 413 w 430"/>
                <a:gd name="T1" fmla="*/ 130 h 544"/>
                <a:gd name="T2" fmla="*/ 376 w 430"/>
                <a:gd name="T3" fmla="*/ 110 h 544"/>
                <a:gd name="T4" fmla="*/ 283 w 430"/>
                <a:gd name="T5" fmla="*/ 37 h 544"/>
                <a:gd name="T6" fmla="*/ 157 w 430"/>
                <a:gd name="T7" fmla="*/ 92 h 544"/>
                <a:gd name="T8" fmla="*/ 132 w 430"/>
                <a:gd name="T9" fmla="*/ 175 h 544"/>
                <a:gd name="T10" fmla="*/ 146 w 430"/>
                <a:gd name="T11" fmla="*/ 403 h 544"/>
                <a:gd name="T12" fmla="*/ 309 w 430"/>
                <a:gd name="T13" fmla="*/ 494 h 544"/>
                <a:gd name="T14" fmla="*/ 418 w 430"/>
                <a:gd name="T15" fmla="*/ 471 h 544"/>
                <a:gd name="T16" fmla="*/ 430 w 430"/>
                <a:gd name="T17" fmla="*/ 493 h 544"/>
                <a:gd name="T18" fmla="*/ 306 w 430"/>
                <a:gd name="T19" fmla="*/ 537 h 544"/>
                <a:gd name="T20" fmla="*/ 137 w 430"/>
                <a:gd name="T21" fmla="*/ 521 h 544"/>
                <a:gd name="T22" fmla="*/ 21 w 430"/>
                <a:gd name="T23" fmla="*/ 387 h 544"/>
                <a:gd name="T24" fmla="*/ 23 w 430"/>
                <a:gd name="T25" fmla="*/ 157 h 544"/>
                <a:gd name="T26" fmla="*/ 195 w 430"/>
                <a:gd name="T27" fmla="*/ 9 h 544"/>
                <a:gd name="T28" fmla="*/ 393 w 430"/>
                <a:gd name="T29" fmla="*/ 20 h 544"/>
                <a:gd name="T30" fmla="*/ 413 w 430"/>
                <a:gd name="T31" fmla="*/ 44 h 544"/>
                <a:gd name="T32" fmla="*/ 413 w 430"/>
                <a:gd name="T33" fmla="*/ 13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0" h="544">
                  <a:moveTo>
                    <a:pt x="413" y="130"/>
                  </a:moveTo>
                  <a:cubicBezTo>
                    <a:pt x="390" y="137"/>
                    <a:pt x="381" y="130"/>
                    <a:pt x="376" y="110"/>
                  </a:cubicBezTo>
                  <a:cubicBezTo>
                    <a:pt x="364" y="59"/>
                    <a:pt x="336" y="39"/>
                    <a:pt x="283" y="37"/>
                  </a:cubicBezTo>
                  <a:cubicBezTo>
                    <a:pt x="231" y="34"/>
                    <a:pt x="183" y="43"/>
                    <a:pt x="157" y="92"/>
                  </a:cubicBezTo>
                  <a:cubicBezTo>
                    <a:pt x="144" y="118"/>
                    <a:pt x="137" y="147"/>
                    <a:pt x="132" y="175"/>
                  </a:cubicBezTo>
                  <a:cubicBezTo>
                    <a:pt x="120" y="252"/>
                    <a:pt x="121" y="329"/>
                    <a:pt x="146" y="403"/>
                  </a:cubicBezTo>
                  <a:cubicBezTo>
                    <a:pt x="170" y="474"/>
                    <a:pt x="233" y="505"/>
                    <a:pt x="309" y="494"/>
                  </a:cubicBezTo>
                  <a:cubicBezTo>
                    <a:pt x="345" y="488"/>
                    <a:pt x="380" y="479"/>
                    <a:pt x="418" y="471"/>
                  </a:cubicBezTo>
                  <a:cubicBezTo>
                    <a:pt x="420" y="475"/>
                    <a:pt x="424" y="483"/>
                    <a:pt x="430" y="493"/>
                  </a:cubicBezTo>
                  <a:cubicBezTo>
                    <a:pt x="392" y="520"/>
                    <a:pt x="350" y="532"/>
                    <a:pt x="306" y="537"/>
                  </a:cubicBezTo>
                  <a:cubicBezTo>
                    <a:pt x="249" y="544"/>
                    <a:pt x="191" y="544"/>
                    <a:pt x="137" y="521"/>
                  </a:cubicBezTo>
                  <a:cubicBezTo>
                    <a:pt x="76" y="496"/>
                    <a:pt x="38" y="449"/>
                    <a:pt x="21" y="387"/>
                  </a:cubicBezTo>
                  <a:cubicBezTo>
                    <a:pt x="0" y="311"/>
                    <a:pt x="1" y="234"/>
                    <a:pt x="23" y="157"/>
                  </a:cubicBezTo>
                  <a:cubicBezTo>
                    <a:pt x="49" y="71"/>
                    <a:pt x="108" y="21"/>
                    <a:pt x="195" y="9"/>
                  </a:cubicBezTo>
                  <a:cubicBezTo>
                    <a:pt x="261" y="0"/>
                    <a:pt x="328" y="1"/>
                    <a:pt x="393" y="20"/>
                  </a:cubicBezTo>
                  <a:cubicBezTo>
                    <a:pt x="408" y="24"/>
                    <a:pt x="414" y="29"/>
                    <a:pt x="413" y="44"/>
                  </a:cubicBezTo>
                  <a:cubicBezTo>
                    <a:pt x="412" y="73"/>
                    <a:pt x="413" y="101"/>
                    <a:pt x="4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5" name="Freeform 15"/>
            <p:cNvSpPr>
              <a:spLocks/>
            </p:cNvSpPr>
            <p:nvPr/>
          </p:nvSpPr>
          <p:spPr bwMode="auto">
            <a:xfrm>
              <a:off x="8949979" y="247880"/>
              <a:ext cx="34779" cy="103596"/>
            </a:xfrm>
            <a:custGeom>
              <a:avLst/>
              <a:gdLst>
                <a:gd name="T0" fmla="*/ 0 w 174"/>
                <a:gd name="T1" fmla="*/ 0 h 514"/>
                <a:gd name="T2" fmla="*/ 168 w 174"/>
                <a:gd name="T3" fmla="*/ 0 h 514"/>
                <a:gd name="T4" fmla="*/ 169 w 174"/>
                <a:gd name="T5" fmla="*/ 9 h 514"/>
                <a:gd name="T6" fmla="*/ 142 w 174"/>
                <a:gd name="T7" fmla="*/ 75 h 514"/>
                <a:gd name="T8" fmla="*/ 142 w 174"/>
                <a:gd name="T9" fmla="*/ 443 h 514"/>
                <a:gd name="T10" fmla="*/ 174 w 174"/>
                <a:gd name="T11" fmla="*/ 508 h 514"/>
                <a:gd name="T12" fmla="*/ 169 w 174"/>
                <a:gd name="T13" fmla="*/ 514 h 514"/>
                <a:gd name="T14" fmla="*/ 4 w 174"/>
                <a:gd name="T15" fmla="*/ 514 h 514"/>
                <a:gd name="T16" fmla="*/ 4 w 174"/>
                <a:gd name="T17" fmla="*/ 508 h 514"/>
                <a:gd name="T18" fmla="*/ 30 w 174"/>
                <a:gd name="T19" fmla="*/ 449 h 514"/>
                <a:gd name="T20" fmla="*/ 30 w 174"/>
                <a:gd name="T21" fmla="*/ 57 h 514"/>
                <a:gd name="T22" fmla="*/ 7 w 174"/>
                <a:gd name="T23" fmla="*/ 13 h 514"/>
                <a:gd name="T24" fmla="*/ 0 w 174"/>
                <a:gd name="T25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514">
                  <a:moveTo>
                    <a:pt x="0" y="0"/>
                  </a:moveTo>
                  <a:cubicBezTo>
                    <a:pt x="59" y="0"/>
                    <a:pt x="113" y="0"/>
                    <a:pt x="168" y="0"/>
                  </a:cubicBezTo>
                  <a:cubicBezTo>
                    <a:pt x="168" y="4"/>
                    <a:pt x="169" y="8"/>
                    <a:pt x="169" y="9"/>
                  </a:cubicBezTo>
                  <a:cubicBezTo>
                    <a:pt x="141" y="23"/>
                    <a:pt x="142" y="48"/>
                    <a:pt x="142" y="75"/>
                  </a:cubicBezTo>
                  <a:cubicBezTo>
                    <a:pt x="142" y="197"/>
                    <a:pt x="142" y="320"/>
                    <a:pt x="142" y="443"/>
                  </a:cubicBezTo>
                  <a:cubicBezTo>
                    <a:pt x="142" y="468"/>
                    <a:pt x="135" y="497"/>
                    <a:pt x="174" y="508"/>
                  </a:cubicBezTo>
                  <a:cubicBezTo>
                    <a:pt x="172" y="510"/>
                    <a:pt x="171" y="512"/>
                    <a:pt x="169" y="514"/>
                  </a:cubicBezTo>
                  <a:cubicBezTo>
                    <a:pt x="114" y="514"/>
                    <a:pt x="59" y="514"/>
                    <a:pt x="4" y="514"/>
                  </a:cubicBezTo>
                  <a:cubicBezTo>
                    <a:pt x="4" y="511"/>
                    <a:pt x="3" y="508"/>
                    <a:pt x="4" y="508"/>
                  </a:cubicBezTo>
                  <a:cubicBezTo>
                    <a:pt x="31" y="496"/>
                    <a:pt x="31" y="473"/>
                    <a:pt x="30" y="449"/>
                  </a:cubicBezTo>
                  <a:cubicBezTo>
                    <a:pt x="30" y="318"/>
                    <a:pt x="30" y="188"/>
                    <a:pt x="30" y="57"/>
                  </a:cubicBezTo>
                  <a:cubicBezTo>
                    <a:pt x="30" y="37"/>
                    <a:pt x="30" y="19"/>
                    <a:pt x="7" y="13"/>
                  </a:cubicBezTo>
                  <a:cubicBezTo>
                    <a:pt x="5" y="13"/>
                    <a:pt x="4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6" name="Freeform 16"/>
            <p:cNvSpPr>
              <a:spLocks/>
            </p:cNvSpPr>
            <p:nvPr/>
          </p:nvSpPr>
          <p:spPr bwMode="auto">
            <a:xfrm>
              <a:off x="8981058" y="247140"/>
              <a:ext cx="65118" cy="106556"/>
            </a:xfrm>
            <a:custGeom>
              <a:avLst/>
              <a:gdLst>
                <a:gd name="T0" fmla="*/ 280 w 324"/>
                <a:gd name="T1" fmla="*/ 0 h 526"/>
                <a:gd name="T2" fmla="*/ 97 w 324"/>
                <a:gd name="T3" fmla="*/ 183 h 526"/>
                <a:gd name="T4" fmla="*/ 96 w 324"/>
                <a:gd name="T5" fmla="*/ 213 h 526"/>
                <a:gd name="T6" fmla="*/ 324 w 324"/>
                <a:gd name="T7" fmla="*/ 519 h 526"/>
                <a:gd name="T8" fmla="*/ 219 w 324"/>
                <a:gd name="T9" fmla="*/ 520 h 526"/>
                <a:gd name="T10" fmla="*/ 135 w 324"/>
                <a:gd name="T11" fmla="*/ 470 h 526"/>
                <a:gd name="T12" fmla="*/ 12 w 324"/>
                <a:gd name="T13" fmla="*/ 271 h 526"/>
                <a:gd name="T14" fmla="*/ 14 w 324"/>
                <a:gd name="T15" fmla="*/ 226 h 526"/>
                <a:gd name="T16" fmla="*/ 168 w 324"/>
                <a:gd name="T17" fmla="*/ 14 h 526"/>
                <a:gd name="T18" fmla="*/ 185 w 324"/>
                <a:gd name="T19" fmla="*/ 1 h 526"/>
                <a:gd name="T20" fmla="*/ 280 w 324"/>
                <a:gd name="T21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4" h="526">
                  <a:moveTo>
                    <a:pt x="280" y="0"/>
                  </a:moveTo>
                  <a:cubicBezTo>
                    <a:pt x="219" y="62"/>
                    <a:pt x="158" y="123"/>
                    <a:pt x="97" y="183"/>
                  </a:cubicBezTo>
                  <a:cubicBezTo>
                    <a:pt x="87" y="194"/>
                    <a:pt x="88" y="201"/>
                    <a:pt x="96" y="213"/>
                  </a:cubicBezTo>
                  <a:cubicBezTo>
                    <a:pt x="172" y="314"/>
                    <a:pt x="248" y="417"/>
                    <a:pt x="324" y="519"/>
                  </a:cubicBezTo>
                  <a:cubicBezTo>
                    <a:pt x="292" y="519"/>
                    <a:pt x="255" y="516"/>
                    <a:pt x="219" y="520"/>
                  </a:cubicBezTo>
                  <a:cubicBezTo>
                    <a:pt x="175" y="526"/>
                    <a:pt x="155" y="508"/>
                    <a:pt x="135" y="470"/>
                  </a:cubicBezTo>
                  <a:cubicBezTo>
                    <a:pt x="99" y="401"/>
                    <a:pt x="54" y="337"/>
                    <a:pt x="12" y="271"/>
                  </a:cubicBezTo>
                  <a:cubicBezTo>
                    <a:pt x="1" y="254"/>
                    <a:pt x="0" y="244"/>
                    <a:pt x="14" y="226"/>
                  </a:cubicBezTo>
                  <a:cubicBezTo>
                    <a:pt x="67" y="157"/>
                    <a:pt x="117" y="85"/>
                    <a:pt x="168" y="14"/>
                  </a:cubicBezTo>
                  <a:cubicBezTo>
                    <a:pt x="172" y="8"/>
                    <a:pt x="179" y="1"/>
                    <a:pt x="185" y="1"/>
                  </a:cubicBezTo>
                  <a:cubicBezTo>
                    <a:pt x="218" y="0"/>
                    <a:pt x="250" y="0"/>
                    <a:pt x="2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7" name="Freeform 17"/>
            <p:cNvSpPr>
              <a:spLocks/>
            </p:cNvSpPr>
            <p:nvPr/>
          </p:nvSpPr>
          <p:spPr bwMode="auto">
            <a:xfrm>
              <a:off x="8017613" y="250100"/>
              <a:ext cx="184253" cy="79177"/>
            </a:xfrm>
            <a:custGeom>
              <a:avLst/>
              <a:gdLst>
                <a:gd name="T0" fmla="*/ 15 w 916"/>
                <a:gd name="T1" fmla="*/ 172 h 395"/>
                <a:gd name="T2" fmla="*/ 275 w 916"/>
                <a:gd name="T3" fmla="*/ 322 h 395"/>
                <a:gd name="T4" fmla="*/ 321 w 916"/>
                <a:gd name="T5" fmla="*/ 323 h 395"/>
                <a:gd name="T6" fmla="*/ 863 w 916"/>
                <a:gd name="T7" fmla="*/ 10 h 395"/>
                <a:gd name="T8" fmla="*/ 898 w 916"/>
                <a:gd name="T9" fmla="*/ 17 h 395"/>
                <a:gd name="T10" fmla="*/ 916 w 916"/>
                <a:gd name="T11" fmla="*/ 41 h 395"/>
                <a:gd name="T12" fmla="*/ 783 w 916"/>
                <a:gd name="T13" fmla="*/ 118 h 395"/>
                <a:gd name="T14" fmla="*/ 318 w 916"/>
                <a:gd name="T15" fmla="*/ 386 h 395"/>
                <a:gd name="T16" fmla="*/ 277 w 916"/>
                <a:gd name="T17" fmla="*/ 385 h 395"/>
                <a:gd name="T18" fmla="*/ 20 w 916"/>
                <a:gd name="T19" fmla="*/ 237 h 395"/>
                <a:gd name="T20" fmla="*/ 6 w 916"/>
                <a:gd name="T21" fmla="*/ 206 h 395"/>
                <a:gd name="T22" fmla="*/ 15 w 916"/>
                <a:gd name="T23" fmla="*/ 17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6" h="395">
                  <a:moveTo>
                    <a:pt x="15" y="172"/>
                  </a:moveTo>
                  <a:cubicBezTo>
                    <a:pt x="104" y="223"/>
                    <a:pt x="190" y="273"/>
                    <a:pt x="275" y="322"/>
                  </a:cubicBezTo>
                  <a:cubicBezTo>
                    <a:pt x="291" y="331"/>
                    <a:pt x="303" y="333"/>
                    <a:pt x="321" y="323"/>
                  </a:cubicBezTo>
                  <a:cubicBezTo>
                    <a:pt x="501" y="218"/>
                    <a:pt x="682" y="114"/>
                    <a:pt x="863" y="10"/>
                  </a:cubicBezTo>
                  <a:cubicBezTo>
                    <a:pt x="878" y="2"/>
                    <a:pt x="889" y="0"/>
                    <a:pt x="898" y="17"/>
                  </a:cubicBezTo>
                  <a:cubicBezTo>
                    <a:pt x="902" y="25"/>
                    <a:pt x="908" y="31"/>
                    <a:pt x="916" y="41"/>
                  </a:cubicBezTo>
                  <a:cubicBezTo>
                    <a:pt x="871" y="67"/>
                    <a:pt x="827" y="93"/>
                    <a:pt x="783" y="118"/>
                  </a:cubicBezTo>
                  <a:cubicBezTo>
                    <a:pt x="628" y="207"/>
                    <a:pt x="473" y="296"/>
                    <a:pt x="318" y="386"/>
                  </a:cubicBezTo>
                  <a:cubicBezTo>
                    <a:pt x="302" y="395"/>
                    <a:pt x="291" y="393"/>
                    <a:pt x="277" y="385"/>
                  </a:cubicBezTo>
                  <a:cubicBezTo>
                    <a:pt x="191" y="336"/>
                    <a:pt x="106" y="286"/>
                    <a:pt x="20" y="237"/>
                  </a:cubicBezTo>
                  <a:cubicBezTo>
                    <a:pt x="6" y="230"/>
                    <a:pt x="0" y="222"/>
                    <a:pt x="6" y="206"/>
                  </a:cubicBezTo>
                  <a:cubicBezTo>
                    <a:pt x="10" y="196"/>
                    <a:pt x="12" y="185"/>
                    <a:pt x="15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8" name="Freeform 18"/>
            <p:cNvSpPr>
              <a:spLocks/>
            </p:cNvSpPr>
            <p:nvPr/>
          </p:nvSpPr>
          <p:spPr bwMode="auto">
            <a:xfrm>
              <a:off x="8023533" y="233081"/>
              <a:ext cx="162794" cy="71037"/>
            </a:xfrm>
            <a:custGeom>
              <a:avLst/>
              <a:gdLst>
                <a:gd name="T0" fmla="*/ 31 w 811"/>
                <a:gd name="T1" fmla="*/ 156 h 352"/>
                <a:gd name="T2" fmla="*/ 252 w 811"/>
                <a:gd name="T3" fmla="*/ 281 h 352"/>
                <a:gd name="T4" fmla="*/ 284 w 811"/>
                <a:gd name="T5" fmla="*/ 283 h 352"/>
                <a:gd name="T6" fmla="*/ 681 w 811"/>
                <a:gd name="T7" fmla="*/ 56 h 352"/>
                <a:gd name="T8" fmla="*/ 738 w 811"/>
                <a:gd name="T9" fmla="*/ 23 h 352"/>
                <a:gd name="T10" fmla="*/ 811 w 811"/>
                <a:gd name="T11" fmla="*/ 42 h 352"/>
                <a:gd name="T12" fmla="*/ 640 w 811"/>
                <a:gd name="T13" fmla="*/ 141 h 352"/>
                <a:gd name="T14" fmla="*/ 300 w 811"/>
                <a:gd name="T15" fmla="*/ 337 h 352"/>
                <a:gd name="T16" fmla="*/ 242 w 811"/>
                <a:gd name="T17" fmla="*/ 339 h 352"/>
                <a:gd name="T18" fmla="*/ 42 w 811"/>
                <a:gd name="T19" fmla="*/ 223 h 352"/>
                <a:gd name="T20" fmla="*/ 31 w 811"/>
                <a:gd name="T21" fmla="*/ 156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1" h="352">
                  <a:moveTo>
                    <a:pt x="31" y="156"/>
                  </a:moveTo>
                  <a:cubicBezTo>
                    <a:pt x="105" y="198"/>
                    <a:pt x="178" y="240"/>
                    <a:pt x="252" y="281"/>
                  </a:cubicBezTo>
                  <a:cubicBezTo>
                    <a:pt x="261" y="286"/>
                    <a:pt x="276" y="287"/>
                    <a:pt x="284" y="283"/>
                  </a:cubicBezTo>
                  <a:cubicBezTo>
                    <a:pt x="417" y="208"/>
                    <a:pt x="549" y="132"/>
                    <a:pt x="681" y="56"/>
                  </a:cubicBezTo>
                  <a:cubicBezTo>
                    <a:pt x="700" y="45"/>
                    <a:pt x="719" y="35"/>
                    <a:pt x="738" y="23"/>
                  </a:cubicBezTo>
                  <a:cubicBezTo>
                    <a:pt x="777" y="0"/>
                    <a:pt x="783" y="2"/>
                    <a:pt x="811" y="42"/>
                  </a:cubicBezTo>
                  <a:cubicBezTo>
                    <a:pt x="754" y="75"/>
                    <a:pt x="697" y="108"/>
                    <a:pt x="640" y="141"/>
                  </a:cubicBezTo>
                  <a:cubicBezTo>
                    <a:pt x="526" y="207"/>
                    <a:pt x="413" y="271"/>
                    <a:pt x="300" y="337"/>
                  </a:cubicBezTo>
                  <a:cubicBezTo>
                    <a:pt x="279" y="349"/>
                    <a:pt x="263" y="352"/>
                    <a:pt x="242" y="339"/>
                  </a:cubicBezTo>
                  <a:cubicBezTo>
                    <a:pt x="176" y="299"/>
                    <a:pt x="109" y="262"/>
                    <a:pt x="42" y="223"/>
                  </a:cubicBezTo>
                  <a:cubicBezTo>
                    <a:pt x="0" y="199"/>
                    <a:pt x="0" y="199"/>
                    <a:pt x="31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9" name="Freeform 19"/>
            <p:cNvSpPr>
              <a:spLocks/>
            </p:cNvSpPr>
            <p:nvPr/>
          </p:nvSpPr>
          <p:spPr bwMode="auto">
            <a:xfrm>
              <a:off x="8035372" y="219761"/>
              <a:ext cx="132455" cy="58458"/>
            </a:xfrm>
            <a:custGeom>
              <a:avLst/>
              <a:gdLst>
                <a:gd name="T0" fmla="*/ 0 w 660"/>
                <a:gd name="T1" fmla="*/ 174 h 291"/>
                <a:gd name="T2" fmla="*/ 35 w 660"/>
                <a:gd name="T3" fmla="*/ 134 h 291"/>
                <a:gd name="T4" fmla="*/ 182 w 660"/>
                <a:gd name="T5" fmla="*/ 219 h 291"/>
                <a:gd name="T6" fmla="*/ 236 w 660"/>
                <a:gd name="T7" fmla="*/ 220 h 291"/>
                <a:gd name="T8" fmla="*/ 575 w 660"/>
                <a:gd name="T9" fmla="*/ 23 h 291"/>
                <a:gd name="T10" fmla="*/ 660 w 660"/>
                <a:gd name="T11" fmla="*/ 36 h 291"/>
                <a:gd name="T12" fmla="*/ 507 w 660"/>
                <a:gd name="T13" fmla="*/ 124 h 291"/>
                <a:gd name="T14" fmla="*/ 228 w 660"/>
                <a:gd name="T15" fmla="*/ 284 h 291"/>
                <a:gd name="T16" fmla="*/ 195 w 660"/>
                <a:gd name="T17" fmla="*/ 287 h 291"/>
                <a:gd name="T18" fmla="*/ 0 w 660"/>
                <a:gd name="T19" fmla="*/ 17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0" h="291">
                  <a:moveTo>
                    <a:pt x="0" y="174"/>
                  </a:moveTo>
                  <a:cubicBezTo>
                    <a:pt x="12" y="160"/>
                    <a:pt x="24" y="147"/>
                    <a:pt x="35" y="134"/>
                  </a:cubicBezTo>
                  <a:cubicBezTo>
                    <a:pt x="86" y="163"/>
                    <a:pt x="135" y="190"/>
                    <a:pt x="182" y="219"/>
                  </a:cubicBezTo>
                  <a:cubicBezTo>
                    <a:pt x="201" y="231"/>
                    <a:pt x="216" y="231"/>
                    <a:pt x="236" y="220"/>
                  </a:cubicBezTo>
                  <a:cubicBezTo>
                    <a:pt x="349" y="154"/>
                    <a:pt x="463" y="91"/>
                    <a:pt x="575" y="23"/>
                  </a:cubicBezTo>
                  <a:cubicBezTo>
                    <a:pt x="611" y="0"/>
                    <a:pt x="629" y="24"/>
                    <a:pt x="660" y="36"/>
                  </a:cubicBezTo>
                  <a:cubicBezTo>
                    <a:pt x="606" y="67"/>
                    <a:pt x="557" y="95"/>
                    <a:pt x="507" y="124"/>
                  </a:cubicBezTo>
                  <a:cubicBezTo>
                    <a:pt x="414" y="177"/>
                    <a:pt x="322" y="231"/>
                    <a:pt x="228" y="284"/>
                  </a:cubicBezTo>
                  <a:cubicBezTo>
                    <a:pt x="219" y="289"/>
                    <a:pt x="204" y="291"/>
                    <a:pt x="195" y="287"/>
                  </a:cubicBezTo>
                  <a:cubicBezTo>
                    <a:pt x="130" y="251"/>
                    <a:pt x="66" y="213"/>
                    <a:pt x="0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sp>
        <p:nvSpPr>
          <p:cNvPr id="3077" name="Заголовок 1"/>
          <p:cNvSpPr>
            <a:spLocks noGrp="1"/>
          </p:cNvSpPr>
          <p:nvPr>
            <p:ph type="title"/>
          </p:nvPr>
        </p:nvSpPr>
        <p:spPr bwMode="auto">
          <a:xfrm>
            <a:off x="322263" y="117475"/>
            <a:ext cx="9923462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</p:sldLayoutIdLst>
  <p:timing>
    <p:tnLst>
      <p:par>
        <p:cTn id="1" dur="indefinite" restart="never" nodeType="tmRoot"/>
      </p:par>
    </p:tnLst>
  </p:timing>
  <p:txStyles>
    <p:titleStyle>
      <a:lvl1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ru-RU" sz="2900" kern="1200">
          <a:solidFill>
            <a:srgbClr val="38572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2pPr>
      <a:lvl3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3pPr>
      <a:lvl4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4pPr>
      <a:lvl5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5pPr>
      <a:lvl6pPr marL="4572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6pPr>
      <a:lvl7pPr marL="9144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7pPr>
      <a:lvl8pPr marL="13716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8pPr>
      <a:lvl9pPr marL="18288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9pPr>
    </p:titleStyle>
    <p:bodyStyle>
      <a:lvl1pPr marL="303213" indent="-303213" algn="l" defTabSz="1217613" rtl="0" eaLnBrk="0" fontAlgn="base" hangingPunct="0">
        <a:lnSpc>
          <a:spcPct val="90000"/>
        </a:lnSpc>
        <a:spcBef>
          <a:spcPts val="1338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28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24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1320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16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Box 26"/>
          <p:cNvSpPr txBox="1">
            <a:spLocks noChangeArrowheads="1"/>
          </p:cNvSpPr>
          <p:nvPr/>
        </p:nvSpPr>
        <p:spPr bwMode="auto">
          <a:xfrm>
            <a:off x="1854200" y="257175"/>
            <a:ext cx="99441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2000" b="1" dirty="0" smtClean="0">
                <a:latin typeface="Arial Narrow" panose="020B0606020202030204" pitchFamily="34" charset="0"/>
              </a:rPr>
              <a:t>Нарушения </a:t>
            </a:r>
            <a:r>
              <a:rPr lang="ru-RU" sz="2000" b="1" dirty="0">
                <a:latin typeface="Arial Narrow" panose="020B0606020202030204" pitchFamily="34" charset="0"/>
              </a:rPr>
              <a:t>при определении начальной (максимальной) цены контракта на оказание услуг по охране объектов (помещений)</a:t>
            </a:r>
            <a:endParaRPr lang="ru-RU" altLang="ru-RU" sz="1850" b="1" dirty="0"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auto">
          <a:xfrm>
            <a:off x="5406887" y="3061253"/>
            <a:ext cx="6785113" cy="1046922"/>
          </a:xfrm>
          <a:prstGeom prst="parallelogram">
            <a:avLst/>
          </a:prstGeom>
          <a:gradFill flip="none" rotWithShape="1">
            <a:gsLst>
              <a:gs pos="0">
                <a:srgbClr val="9AC97D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рядок определения Н(М)ЦК при осуществлении охранных услуг устанавливается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Й СЛУЖБОЙ ВОЙСК НАЦИОНАЛЬНОЙ ГВАРДИИ РФ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5512904" y="1651276"/>
            <a:ext cx="6679096" cy="1303960"/>
          </a:xfrm>
          <a:prstGeom prst="parallelogram">
            <a:avLst/>
          </a:prstGeom>
          <a:gradFill flip="none" rotWithShape="1">
            <a:gsLst>
              <a:gs pos="0">
                <a:srgbClr val="9AC97D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ctr"/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ИТЕЛЬСТВО РФ ВПРАВЕ ОПРЕДЕЛИТЬ: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феры деятельности, в которых при осуществлении закупок устанавливается порядок определения Н(М)ЦК;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ые органы исполнительной власти, устанавливающие порядок определения Н(М)ЦК.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 Box 14"/>
          <p:cNvSpPr txBox="1">
            <a:spLocks noChangeArrowheads="1"/>
          </p:cNvSpPr>
          <p:nvPr/>
        </p:nvSpPr>
        <p:spPr bwMode="auto">
          <a:xfrm>
            <a:off x="5274365" y="4357758"/>
            <a:ext cx="6917635" cy="929859"/>
          </a:xfrm>
          <a:prstGeom prst="parallelogram">
            <a:avLst/>
          </a:prstGeom>
          <a:gradFill flip="none" rotWithShape="1">
            <a:gsLst>
              <a:gs pos="0">
                <a:srgbClr val="81BC5C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рядок определения Н(М)ЦК при осуществлении охранных услуг </a:t>
            </a:r>
          </a:p>
        </p:txBody>
      </p:sp>
      <p:sp>
        <p:nvSpPr>
          <p:cNvPr id="17" name="Параллелограмм 16"/>
          <p:cNvSpPr/>
          <p:nvPr/>
        </p:nvSpPr>
        <p:spPr>
          <a:xfrm>
            <a:off x="173011" y="3035119"/>
            <a:ext cx="4597771" cy="967040"/>
          </a:xfrm>
          <a:prstGeom prst="parallelogram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Правительства РФ </a:t>
            </a:r>
          </a:p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08.05.2020 № 645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Параллелограмм 18"/>
          <p:cNvSpPr/>
          <p:nvPr/>
        </p:nvSpPr>
        <p:spPr>
          <a:xfrm>
            <a:off x="302219" y="2146852"/>
            <a:ext cx="4601085" cy="543339"/>
          </a:xfrm>
          <a:prstGeom prst="parallelogram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.22 ст.22 Закона №44-ФЗ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араллелограмм 19"/>
          <p:cNvSpPr/>
          <p:nvPr/>
        </p:nvSpPr>
        <p:spPr>
          <a:xfrm>
            <a:off x="212035" y="4316899"/>
            <a:ext cx="4439477" cy="917710"/>
          </a:xfrm>
          <a:prstGeom prst="parallelogram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Федеральной службы войск национальной гвардии РФ </a:t>
            </a:r>
          </a:p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15.02.2021 № 45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1844867" y="242713"/>
            <a:ext cx="2540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chemeClr val="accent6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65" name="Text Box 14"/>
          <p:cNvSpPr txBox="1">
            <a:spLocks noChangeArrowheads="1"/>
          </p:cNvSpPr>
          <p:nvPr/>
        </p:nvSpPr>
        <p:spPr bwMode="auto">
          <a:xfrm>
            <a:off x="0" y="1157359"/>
            <a:ext cx="12192000" cy="419651"/>
          </a:xfrm>
          <a:prstGeom prst="parallelogram">
            <a:avLst/>
          </a:prstGeom>
          <a:gradFill flip="none" rotWithShape="1">
            <a:gsLst>
              <a:gs pos="0">
                <a:srgbClr val="81BC5C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НО-ПРАВОВЫЕ АКТЫ РЕГУЛИРУЮЩИЕ ОПРЕДЕЛЕНИЕ Н(М)ЦК ПРИ ОСУЩЕСТВЛЕНИИ ЗАКУПОК ОХРАННЫХ УСЛУГ</a:t>
            </a:r>
          </a:p>
        </p:txBody>
      </p:sp>
      <p:sp>
        <p:nvSpPr>
          <p:cNvPr id="68" name="Стрелка вправо 67"/>
          <p:cNvSpPr/>
          <p:nvPr/>
        </p:nvSpPr>
        <p:spPr>
          <a:xfrm>
            <a:off x="4678017" y="4545495"/>
            <a:ext cx="675861" cy="437322"/>
          </a:xfrm>
          <a:prstGeom prst="rightArrow">
            <a:avLst/>
          </a:prstGeom>
          <a:solidFill>
            <a:srgbClr val="81BC5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Стрелка вправо 68"/>
          <p:cNvSpPr/>
          <p:nvPr/>
        </p:nvSpPr>
        <p:spPr>
          <a:xfrm>
            <a:off x="4764155" y="3359428"/>
            <a:ext cx="675861" cy="437322"/>
          </a:xfrm>
          <a:prstGeom prst="rightArrow">
            <a:avLst/>
          </a:prstGeom>
          <a:solidFill>
            <a:srgbClr val="81BC5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Стрелка вправо 69"/>
          <p:cNvSpPr/>
          <p:nvPr/>
        </p:nvSpPr>
        <p:spPr>
          <a:xfrm>
            <a:off x="4936435" y="2193234"/>
            <a:ext cx="675861" cy="437322"/>
          </a:xfrm>
          <a:prstGeom prst="rightArrow">
            <a:avLst/>
          </a:prstGeom>
          <a:solidFill>
            <a:srgbClr val="81BC5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Стрелка вправо 70"/>
          <p:cNvSpPr/>
          <p:nvPr/>
        </p:nvSpPr>
        <p:spPr>
          <a:xfrm rot="5400000">
            <a:off x="2517909" y="1351723"/>
            <a:ext cx="357809" cy="993911"/>
          </a:xfrm>
          <a:prstGeom prst="rightArrow">
            <a:avLst/>
          </a:prstGeom>
          <a:solidFill>
            <a:srgbClr val="81BC5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Параллелограмм 74"/>
          <p:cNvSpPr/>
          <p:nvPr/>
        </p:nvSpPr>
        <p:spPr>
          <a:xfrm>
            <a:off x="165100" y="5539961"/>
            <a:ext cx="12026899" cy="781877"/>
          </a:xfrm>
          <a:prstGeom prst="parallelogram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Tx/>
              <a:buChar char="-"/>
            </a:pP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иказ от 15.02.2021 №45 вступил в силу -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9.05.2021</a:t>
            </a:r>
          </a:p>
          <a:p>
            <a:pPr algn="ctr">
              <a:buFontTx/>
              <a:buChar char="-"/>
            </a:pP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именение Порядка, утвержденного Приказом от 15.02.2021 №45, носит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язательный характер!</a:t>
            </a:r>
          </a:p>
        </p:txBody>
      </p:sp>
      <p:sp>
        <p:nvSpPr>
          <p:cNvPr id="18" name="TextBox 2"/>
          <p:cNvSpPr txBox="1">
            <a:spLocks noChangeArrowheads="1"/>
          </p:cNvSpPr>
          <p:nvPr/>
        </p:nvSpPr>
        <p:spPr bwMode="auto">
          <a:xfrm>
            <a:off x="1008061" y="5334001"/>
            <a:ext cx="566739" cy="1092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6500" dirty="0">
                <a:solidFill>
                  <a:srgbClr val="FF0000"/>
                </a:solidFill>
                <a:sym typeface="Symbol" pitchFamily="18" charset="2"/>
              </a:rPr>
              <a:t></a:t>
            </a:r>
            <a:endParaRPr lang="ru-RU" altLang="ru-RU" sz="65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971713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Box 26"/>
          <p:cNvSpPr txBox="1">
            <a:spLocks noChangeArrowheads="1"/>
          </p:cNvSpPr>
          <p:nvPr/>
        </p:nvSpPr>
        <p:spPr bwMode="auto">
          <a:xfrm>
            <a:off x="1930400" y="242713"/>
            <a:ext cx="98298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2000" b="1" dirty="0" smtClean="0">
                <a:latin typeface="Arial Narrow" panose="020B0606020202030204" pitchFamily="34" charset="0"/>
              </a:rPr>
              <a:t>Нарушения при определении начальной (максимальной) цены контракта на оказание услуг по охране объектов (помещений)</a:t>
            </a:r>
            <a:endParaRPr lang="ru-RU" altLang="ru-RU" sz="2000" b="1" dirty="0">
              <a:latin typeface="Arial Narrow" pitchFamily="34" charset="0"/>
              <a:cs typeface="Times New Roman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1689621"/>
              </p:ext>
            </p:extLst>
          </p:nvPr>
        </p:nvGraphicFramePr>
        <p:xfrm>
          <a:off x="7759700" y="1193800"/>
          <a:ext cx="4051300" cy="5067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1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67300">
                <a:tc>
                  <a:txBody>
                    <a:bodyPr/>
                    <a:lstStyle/>
                    <a:p>
                      <a:pPr algn="ctr"/>
                      <a:endParaRPr lang="ru-RU" sz="18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8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8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8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8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8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09.07.2021 – онлайн-вебинар по вопросу применения порядка определения НМЦК на оказание охранных услуг</a:t>
                      </a:r>
                    </a:p>
                    <a:p>
                      <a:pPr algn="ctr"/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ебинар доступен для изучения на сайте </a:t>
                      </a:r>
                      <a:r>
                        <a:rPr lang="ru-RU" sz="1800" b="1" u="sng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http://goszakaz.ufin48.ru/ </a:t>
                      </a:r>
                    </a:p>
                    <a:p>
                      <a:pPr algn="ctr"/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вкладка «Вебинары»).</a:t>
                      </a:r>
                      <a:endParaRPr lang="ru-RU" sz="1800" b="0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29000">
                          <a:srgbClr val="75B44A"/>
                        </a:gs>
                        <a:gs pos="100000">
                          <a:sysClr val="window" lastClr="FFFFFF">
                            <a:lumMod val="95000"/>
                          </a:sysClr>
                        </a:gs>
                      </a:gsLst>
                      <a:lin ang="162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11844867" y="242713"/>
            <a:ext cx="2540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chemeClr val="accent6">
                    <a:lumMod val="50000"/>
                  </a:schemeClr>
                </a:solidFill>
              </a:rPr>
              <a:t>4</a:t>
            </a:r>
          </a:p>
        </p:txBody>
      </p:sp>
      <p:sp>
        <p:nvSpPr>
          <p:cNvPr id="49153" name="Rectangle 1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9154" name="Rectangle 2"/>
          <p:cNvSpPr>
            <a:spLocks noChangeArrowheads="1"/>
          </p:cNvSpPr>
          <p:nvPr/>
        </p:nvSpPr>
        <p:spPr bwMode="auto">
          <a:xfrm>
            <a:off x="0" y="241300"/>
            <a:ext cx="12192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Рисунок 1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91" r="23138"/>
          <a:stretch>
            <a:fillRect/>
          </a:stretch>
        </p:blipFill>
        <p:spPr bwMode="auto">
          <a:xfrm>
            <a:off x="991311" y="1113905"/>
            <a:ext cx="6531707" cy="54900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99517388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266700" y="2578100"/>
            <a:ext cx="4229100" cy="1282700"/>
          </a:xfrm>
          <a:prstGeom prst="roundRect">
            <a:avLst/>
          </a:prstGeom>
          <a:solidFill>
            <a:srgbClr val="81BC5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26"/>
          <p:cNvSpPr txBox="1">
            <a:spLocks noChangeArrowheads="1"/>
          </p:cNvSpPr>
          <p:nvPr/>
        </p:nvSpPr>
        <p:spPr bwMode="auto">
          <a:xfrm>
            <a:off x="1846263" y="357686"/>
            <a:ext cx="9964737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2000" b="1" dirty="0" smtClean="0">
                <a:latin typeface="Arial Narrow" panose="020B0606020202030204" pitchFamily="34" charset="0"/>
              </a:rPr>
              <a:t>Нарушения при определении начальной (максимальной) цены контракта на оказание услуг по охране объектов (помещений)</a:t>
            </a:r>
            <a:endParaRPr lang="ru-RU" altLang="ru-RU" sz="2000" b="1" dirty="0"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/>
        </p:nvSpPr>
        <p:spPr bwMode="auto">
          <a:xfrm>
            <a:off x="0" y="5638801"/>
            <a:ext cx="12192000" cy="914400"/>
          </a:xfrm>
          <a:prstGeom prst="parallelogram">
            <a:avLst/>
          </a:prstGeom>
          <a:noFill/>
          <a:ln>
            <a:noFill/>
          </a:ln>
          <a:effectLst/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ctr" defTabSz="912813">
              <a:lnSpc>
                <a:spcPct val="115000"/>
              </a:lnSpc>
              <a:defRPr/>
            </a:pPr>
            <a:endParaRPr lang="ru-RU" altLang="ru-RU" sz="1600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algn="ctr" defTabSz="912813">
              <a:lnSpc>
                <a:spcPct val="115000"/>
              </a:lnSpc>
              <a:defRPr/>
            </a:pPr>
            <a:r>
              <a:rPr lang="ru-RU" altLang="ru-RU" dirty="0" smtClean="0">
                <a:latin typeface="Arial Narrow" panose="020B0606020202030204" pitchFamily="34" charset="0"/>
                <a:cs typeface="Times New Roman" pitchFamily="18" charset="0"/>
              </a:rPr>
              <a:t>Административная ответственность за нарушение Порядка определения Н(М)ЦК - </a:t>
            </a:r>
            <a:r>
              <a:rPr lang="ru-RU" altLang="ru-RU" b="1" dirty="0" smtClean="0">
                <a:latin typeface="Arial Narrow" panose="020B0606020202030204" pitchFamily="34" charset="0"/>
                <a:cs typeface="Times New Roman" pitchFamily="18" charset="0"/>
              </a:rPr>
              <a:t>ч.2 ст.7.29.3 КоАП РФ</a:t>
            </a:r>
          </a:p>
          <a:p>
            <a:pPr algn="ctr" defTabSz="912813">
              <a:lnSpc>
                <a:spcPct val="115000"/>
              </a:lnSpc>
              <a:defRPr/>
            </a:pPr>
            <a:r>
              <a:rPr lang="ru-RU" altLang="ru-RU" dirty="0" smtClean="0">
                <a:latin typeface="Arial Narrow" panose="020B0606020202030204" pitchFamily="34" charset="0"/>
                <a:cs typeface="Times New Roman" pitchFamily="18" charset="0"/>
              </a:rPr>
              <a:t>Штраф на должностное лицо - </a:t>
            </a:r>
            <a:r>
              <a:rPr lang="ru-RU" altLang="ru-RU" b="1" dirty="0" smtClean="0">
                <a:solidFill>
                  <a:srgbClr val="FF0000"/>
                </a:solidFill>
                <a:latin typeface="Arial Narrow" panose="020B0606020202030204" pitchFamily="34" charset="0"/>
                <a:cs typeface="Times New Roman" pitchFamily="18" charset="0"/>
              </a:rPr>
              <a:t>10 000,00 руб. </a:t>
            </a:r>
          </a:p>
          <a:p>
            <a:pPr marL="271463" algn="ctr" defTabSz="912813">
              <a:lnSpc>
                <a:spcPct val="115000"/>
              </a:lnSpc>
              <a:defRPr/>
            </a:pPr>
            <a:endParaRPr lang="ru-RU" altLang="ru-RU" sz="150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14" name="TextBox 2"/>
          <p:cNvSpPr txBox="1">
            <a:spLocks noChangeArrowheads="1"/>
          </p:cNvSpPr>
          <p:nvPr/>
        </p:nvSpPr>
        <p:spPr bwMode="auto">
          <a:xfrm>
            <a:off x="538161" y="5600701"/>
            <a:ext cx="642939" cy="1092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6500" dirty="0">
                <a:solidFill>
                  <a:srgbClr val="FF0000"/>
                </a:solidFill>
                <a:sym typeface="Symbol" pitchFamily="18" charset="2"/>
              </a:rPr>
              <a:t></a:t>
            </a:r>
            <a:endParaRPr lang="ru-RU" altLang="ru-RU" sz="6500" dirty="0">
              <a:solidFill>
                <a:srgbClr val="FF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844867" y="242713"/>
            <a:ext cx="2540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chemeClr val="accent6">
                    <a:lumMod val="50000"/>
                  </a:schemeClr>
                </a:solidFill>
              </a:rPr>
              <a:t>7</a:t>
            </a: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620486067"/>
              </p:ext>
            </p:extLst>
          </p:nvPr>
        </p:nvGraphicFramePr>
        <p:xfrm>
          <a:off x="241301" y="1358901"/>
          <a:ext cx="11709399" cy="1092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2095500" y="3473917"/>
            <a:ext cx="4419600" cy="188256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21000">
                <a:schemeClr val="bg1">
                  <a:lumMod val="95000"/>
                </a:schemeClr>
              </a:gs>
            </a:gsLst>
            <a:lin ang="0" scaled="1"/>
            <a:tileRect/>
          </a:gra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91438" tIns="45719" rIns="91438" bIns="45719" rtlCol="0" anchor="t">
            <a:spAutoFit/>
          </a:bodyPr>
          <a:lstStyle>
            <a:defPPr>
              <a:defRPr lang="ru-RU"/>
            </a:defPPr>
            <a:lvl1pPr algn="ctr">
              <a:lnSpc>
                <a:spcPts val="3000"/>
              </a:lnSpc>
              <a:defRPr sz="1600">
                <a:latin typeface="Arial Narrow" panose="020B0606020202030204" pitchFamily="34" charset="0"/>
              </a:defRPr>
            </a:lvl1pPr>
          </a:lstStyle>
          <a:p>
            <a:pPr algn="l" fontAlgn="t">
              <a:lnSpc>
                <a:spcPts val="1000"/>
              </a:lnSpc>
            </a:pPr>
            <a:endParaRPr lang="ru-RU" sz="14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 fontAlgn="t">
              <a:lnSpc>
                <a:spcPct val="100000"/>
              </a:lnSpc>
            </a:pPr>
            <a:r>
              <a:rPr lang="ru-RU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- вынесение постановления о прекращении производства по делу об административном правонарушении в связи с малозначительностью совершенных правонарушений в соответствии со ст.2.9 КоАП РФ.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04800" y="2578100"/>
            <a:ext cx="3733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66750">
              <a:spcAft>
                <a:spcPts val="0"/>
              </a:spcAft>
            </a:pPr>
            <a:r>
              <a:rPr lang="ru-RU" b="1" dirty="0" smtClean="0">
                <a:latin typeface="Arial Narrow" panose="020B0606020202030204" pitchFamily="34" charset="0"/>
              </a:rPr>
              <a:t>За нарушения при обосновании Н(М)ЦК охранных услуг, совершенные до онлайн-вебинара</a:t>
            </a:r>
          </a:p>
          <a:p>
            <a:pPr lvl="0" defTabSz="666750">
              <a:spcAft>
                <a:spcPts val="0"/>
              </a:spcAft>
            </a:pPr>
            <a:r>
              <a:rPr lang="ru-RU" b="1" dirty="0" smtClean="0">
                <a:latin typeface="Arial Narrow" panose="020B0606020202030204" pitchFamily="34" charset="0"/>
              </a:rPr>
              <a:t>(до 09.07.2021)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604000" y="2552700"/>
            <a:ext cx="4191000" cy="1320800"/>
          </a:xfrm>
          <a:prstGeom prst="roundRect">
            <a:avLst/>
          </a:prstGeom>
          <a:solidFill>
            <a:srgbClr val="81BC5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/>
          <p:cNvSpPr txBox="1"/>
          <p:nvPr/>
        </p:nvSpPr>
        <p:spPr>
          <a:xfrm>
            <a:off x="6642100" y="2616200"/>
            <a:ext cx="3835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66750">
              <a:spcAft>
                <a:spcPts val="0"/>
              </a:spcAft>
            </a:pPr>
            <a:r>
              <a:rPr lang="ru-RU" b="1" dirty="0" smtClean="0">
                <a:latin typeface="Arial Narrow" panose="020B0606020202030204" pitchFamily="34" charset="0"/>
              </a:rPr>
              <a:t>За нарушения при обосновании Н(М)ЦК охранных услуг, совершенные после онлайн-вебинара</a:t>
            </a:r>
          </a:p>
          <a:p>
            <a:pPr lvl="0" defTabSz="666750">
              <a:spcAft>
                <a:spcPts val="0"/>
              </a:spcAft>
            </a:pPr>
            <a:r>
              <a:rPr lang="ru-RU" b="1" dirty="0" smtClean="0">
                <a:latin typeface="Arial Narrow" panose="020B0606020202030204" pitchFamily="34" charset="0"/>
              </a:rPr>
              <a:t>(после 09.07.2021)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8458200" y="3562816"/>
            <a:ext cx="3530600" cy="188256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21000">
                <a:schemeClr val="bg1">
                  <a:lumMod val="95000"/>
                </a:schemeClr>
              </a:gs>
            </a:gsLst>
            <a:lin ang="0" scaled="1"/>
            <a:tileRect/>
          </a:gra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91438" tIns="45719" rIns="91438" bIns="45719" rtlCol="0" anchor="t">
            <a:spAutoFit/>
          </a:bodyPr>
          <a:lstStyle>
            <a:defPPr>
              <a:defRPr lang="ru-RU"/>
            </a:defPPr>
            <a:lvl1pPr algn="ctr">
              <a:lnSpc>
                <a:spcPts val="3000"/>
              </a:lnSpc>
              <a:defRPr sz="1600">
                <a:latin typeface="Arial Narrow" panose="020B0606020202030204" pitchFamily="34" charset="0"/>
              </a:defRPr>
            </a:lvl1pPr>
          </a:lstStyle>
          <a:p>
            <a:pPr algn="l" fontAlgn="t">
              <a:lnSpc>
                <a:spcPts val="1000"/>
              </a:lnSpc>
            </a:pPr>
            <a:endParaRPr lang="ru-RU" sz="14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 fontAlgn="t">
              <a:lnSpc>
                <a:spcPct val="100000"/>
              </a:lnSpc>
              <a:buFontTx/>
              <a:buChar char="-"/>
            </a:pPr>
            <a:r>
              <a:rPr lang="ru-RU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вынесение постановления о наложении штрафа по делу об административном правонарушении</a:t>
            </a:r>
          </a:p>
          <a:p>
            <a:pPr algn="l" fontAlgn="t">
              <a:lnSpc>
                <a:spcPct val="100000"/>
              </a:lnSpc>
              <a:buFontTx/>
              <a:buChar char="-"/>
            </a:pPr>
            <a:endParaRPr lang="ru-RU" sz="18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 fontAlgn="t">
              <a:lnSpc>
                <a:spcPct val="100000"/>
              </a:lnSpc>
              <a:buFontTx/>
              <a:buChar char="-"/>
            </a:pPr>
            <a:endParaRPr lang="ru-RU" sz="18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 fontAlgn="t">
              <a:lnSpc>
                <a:spcPct val="100000"/>
              </a:lnSpc>
              <a:buFontTx/>
              <a:buChar char="-"/>
            </a:pPr>
            <a:endParaRPr lang="ru-RU" sz="18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039197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Box 26"/>
          <p:cNvSpPr txBox="1">
            <a:spLocks noChangeArrowheads="1"/>
          </p:cNvSpPr>
          <p:nvPr/>
        </p:nvSpPr>
        <p:spPr bwMode="auto">
          <a:xfrm>
            <a:off x="1854200" y="257175"/>
            <a:ext cx="99441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2000" b="1" dirty="0" smtClean="0">
                <a:latin typeface="Arial Narrow" panose="020B0606020202030204" pitchFamily="34" charset="0"/>
              </a:rPr>
              <a:t>Нарушения при выборе способа определения исполнителя при закупках охранных услуг</a:t>
            </a:r>
            <a:endParaRPr lang="ru-RU" alt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auto">
          <a:xfrm>
            <a:off x="-1" y="2781853"/>
            <a:ext cx="12192001" cy="621747"/>
          </a:xfrm>
          <a:prstGeom prst="parallelogram">
            <a:avLst/>
          </a:prstGeom>
          <a:gradFill flip="none" rotWithShape="1">
            <a:gsLst>
              <a:gs pos="0">
                <a:srgbClr val="9AC97D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ctr"/>
            <a:r>
              <a:rPr lang="ru-RU" b="1" dirty="0" smtClean="0">
                <a:latin typeface="Arial Narrow" pitchFamily="34" charset="0"/>
                <a:cs typeface="Times New Roman" panose="02020603050405020304" pitchFamily="18" charset="0"/>
              </a:rPr>
              <a:t>Если необходимые услуги могут  оказывать несколько субъектов - Заказчик обязан провести конкурентную закупку</a:t>
            </a:r>
            <a:endParaRPr lang="ru-RU" b="1" dirty="0">
              <a:latin typeface="Arial Narrow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5512904" y="1244876"/>
            <a:ext cx="6679096" cy="1303960"/>
          </a:xfrm>
          <a:prstGeom prst="parallelogram">
            <a:avLst/>
          </a:prstGeom>
          <a:gradFill flip="none" rotWithShape="1">
            <a:gsLst>
              <a:gs pos="0">
                <a:srgbClr val="9AC97D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ctr"/>
            <a:r>
              <a:rPr lang="ru-RU" sz="16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Заказчик вправе закупать у единственного исполнителя услуги, оказываемые </a:t>
            </a:r>
            <a:r>
              <a:rPr lang="ru-RU" sz="16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олько</a:t>
            </a:r>
            <a:r>
              <a:rPr lang="ru-RU" sz="16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 уполномоченным органом исполнительной власти либо подведомственными ему государственным учреждением, государственным унитарным предприятием. </a:t>
            </a:r>
            <a:endParaRPr lang="ru-RU" sz="16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Параллелограмм 18"/>
          <p:cNvSpPr/>
          <p:nvPr/>
        </p:nvSpPr>
        <p:spPr>
          <a:xfrm>
            <a:off x="276819" y="1600752"/>
            <a:ext cx="4601085" cy="543339"/>
          </a:xfrm>
          <a:prstGeom prst="parallelogram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п.6 ч.1 ст.93 Закона №44-ФЗ </a:t>
            </a:r>
            <a:endParaRPr lang="ru-RU" sz="2000" b="1" dirty="0">
              <a:solidFill>
                <a:schemeClr val="tx1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1844867" y="242713"/>
            <a:ext cx="2540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chemeClr val="accent6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70" name="Стрелка вправо 69"/>
          <p:cNvSpPr/>
          <p:nvPr/>
        </p:nvSpPr>
        <p:spPr>
          <a:xfrm>
            <a:off x="4936435" y="1672534"/>
            <a:ext cx="675861" cy="437322"/>
          </a:xfrm>
          <a:prstGeom prst="rightArrow">
            <a:avLst/>
          </a:prstGeom>
          <a:solidFill>
            <a:srgbClr val="81BC5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Параллелограмм 74"/>
          <p:cNvSpPr/>
          <p:nvPr/>
        </p:nvSpPr>
        <p:spPr>
          <a:xfrm>
            <a:off x="165101" y="5539961"/>
            <a:ext cx="12026900" cy="781877"/>
          </a:xfrm>
          <a:prstGeom prst="parallelogram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813">
              <a:lnSpc>
                <a:spcPct val="115000"/>
              </a:lnSpc>
              <a:defRPr/>
            </a:pPr>
            <a:r>
              <a:rPr lang="ru-RU" altLang="ru-RU" sz="160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itchFamily="18" charset="0"/>
              </a:rPr>
              <a:t>Административная ответственность за неверный способ определения поставщика (подрядчика, исполнителя) – </a:t>
            </a:r>
          </a:p>
          <a:p>
            <a:pPr algn="ctr" defTabSz="912813">
              <a:lnSpc>
                <a:spcPct val="115000"/>
              </a:lnSpc>
              <a:defRPr/>
            </a:pPr>
            <a:r>
              <a:rPr lang="ru-RU" alt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itchFamily="18" charset="0"/>
              </a:rPr>
              <a:t>ч.1, ч.2 ст.7.29 КоАП РФ</a:t>
            </a:r>
          </a:p>
          <a:p>
            <a:pPr algn="ctr" defTabSz="912813">
              <a:lnSpc>
                <a:spcPct val="115000"/>
              </a:lnSpc>
              <a:defRPr/>
            </a:pPr>
            <a:r>
              <a:rPr lang="ru-RU" altLang="ru-RU" sz="160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itchFamily="18" charset="0"/>
              </a:rPr>
              <a:t>Штраф на должностное лицо – </a:t>
            </a:r>
            <a:r>
              <a:rPr lang="ru-RU" altLang="ru-RU" sz="1600" b="1" dirty="0" smtClean="0">
                <a:solidFill>
                  <a:srgbClr val="FF0000"/>
                </a:solidFill>
                <a:latin typeface="Arial Narrow" panose="020B0606020202030204" pitchFamily="34" charset="0"/>
                <a:cs typeface="Times New Roman" pitchFamily="18" charset="0"/>
              </a:rPr>
              <a:t>от 20 000,00 руб. до 50 000,00 руб.</a:t>
            </a:r>
            <a:endParaRPr lang="ru-RU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2"/>
          <p:cNvSpPr txBox="1">
            <a:spLocks noChangeArrowheads="1"/>
          </p:cNvSpPr>
          <p:nvPr/>
        </p:nvSpPr>
        <p:spPr bwMode="auto">
          <a:xfrm>
            <a:off x="512761" y="5384801"/>
            <a:ext cx="566739" cy="1092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6500" dirty="0">
                <a:solidFill>
                  <a:srgbClr val="FF0000"/>
                </a:solidFill>
                <a:sym typeface="Symbol" pitchFamily="18" charset="2"/>
              </a:rPr>
              <a:t></a:t>
            </a:r>
            <a:endParaRPr lang="ru-RU" altLang="ru-RU" sz="6500" dirty="0">
              <a:solidFill>
                <a:srgbClr val="FF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28600" y="3816816"/>
            <a:ext cx="3136900" cy="1538881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21000">
                <a:schemeClr val="bg1">
                  <a:lumMod val="95000"/>
                </a:schemeClr>
              </a:gs>
            </a:gsLst>
            <a:lin ang="0" scaled="1"/>
            <a:tileRect/>
          </a:gra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91438" tIns="45719" rIns="91438" bIns="45719" rtlCol="0" anchor="t">
            <a:spAutoFit/>
          </a:bodyPr>
          <a:lstStyle>
            <a:defPPr>
              <a:defRPr lang="ru-RU"/>
            </a:defPPr>
            <a:lvl1pPr algn="ctr">
              <a:lnSpc>
                <a:spcPts val="3000"/>
              </a:lnSpc>
              <a:defRPr sz="1600">
                <a:latin typeface="Arial Narrow" panose="020B0606020202030204" pitchFamily="34" charset="0"/>
              </a:defRPr>
            </a:lvl1pPr>
          </a:lstStyle>
          <a:p>
            <a:pPr algn="l" fontAlgn="t">
              <a:lnSpc>
                <a:spcPct val="100000"/>
              </a:lnSpc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 fontAlgn="t">
              <a:lnSpc>
                <a:spcPct val="100000"/>
              </a:lnSpc>
            </a:pPr>
            <a:r>
              <a:rPr lang="ru-RU" dirty="0" smtClean="0">
                <a:cs typeface="Times New Roman" panose="02020603050405020304" pitchFamily="18" charset="0"/>
              </a:rPr>
              <a:t>Заказчику требуется закупить услуги по охране помещений для хранения наркотических средств, психотропных веществ и их прекурсоров.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215900" y="3606800"/>
            <a:ext cx="1600200" cy="444500"/>
          </a:xfrm>
          <a:prstGeom prst="roundRect">
            <a:avLst/>
          </a:prstGeom>
          <a:solidFill>
            <a:srgbClr val="81BC5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279400" y="3644900"/>
            <a:ext cx="1536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пример:</a:t>
            </a:r>
          </a:p>
        </p:txBody>
      </p:sp>
      <p:sp>
        <p:nvSpPr>
          <p:cNvPr id="27" name="Стрелка вправо 26"/>
          <p:cNvSpPr/>
          <p:nvPr/>
        </p:nvSpPr>
        <p:spPr>
          <a:xfrm>
            <a:off x="3374335" y="4390334"/>
            <a:ext cx="359465" cy="437322"/>
          </a:xfrm>
          <a:prstGeom prst="rightArrow">
            <a:avLst/>
          </a:prstGeom>
          <a:solidFill>
            <a:srgbClr val="81BC5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/>
          <p:cNvSpPr txBox="1"/>
          <p:nvPr/>
        </p:nvSpPr>
        <p:spPr>
          <a:xfrm>
            <a:off x="3810000" y="3905716"/>
            <a:ext cx="3467100" cy="1323437"/>
          </a:xfrm>
          <a:prstGeom prst="rect">
            <a:avLst/>
          </a:prstGeom>
          <a:gradFill flip="none" rotWithShape="1">
            <a:gsLst>
              <a:gs pos="0">
                <a:srgbClr val="9AC97D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>
              <a:lnSpc>
                <a:spcPts val="3000"/>
              </a:lnSpc>
              <a:defRPr sz="1600">
                <a:latin typeface="Arial Narrow" panose="020B060602020203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 smtClean="0">
                <a:cs typeface="Times New Roman" panose="02020603050405020304" pitchFamily="18" charset="0"/>
              </a:rPr>
              <a:t>п.10 правил хранения наркотических средств, психотропных веществ и их прекурсоров, утвержденных постановлением Правительства РФ от 31.12.2009 №1148</a:t>
            </a:r>
          </a:p>
        </p:txBody>
      </p:sp>
      <p:sp>
        <p:nvSpPr>
          <p:cNvPr id="30" name="Стрелка вправо 29"/>
          <p:cNvSpPr/>
          <p:nvPr/>
        </p:nvSpPr>
        <p:spPr>
          <a:xfrm>
            <a:off x="7400235" y="4403034"/>
            <a:ext cx="359465" cy="437322"/>
          </a:xfrm>
          <a:prstGeom prst="rightArrow">
            <a:avLst/>
          </a:prstGeom>
          <a:solidFill>
            <a:srgbClr val="81BC5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7848600" y="3893017"/>
            <a:ext cx="4076700" cy="132343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21000">
                <a:schemeClr val="bg1">
                  <a:lumMod val="95000"/>
                </a:schemeClr>
              </a:gs>
            </a:gsLst>
            <a:lin ang="0" scaled="1"/>
            <a:tileRect/>
          </a:gra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91438" tIns="45719" rIns="91438" bIns="45719" rtlCol="0" anchor="t">
            <a:spAutoFit/>
          </a:bodyPr>
          <a:lstStyle>
            <a:defPPr>
              <a:defRPr lang="ru-RU"/>
            </a:defPPr>
            <a:lvl1pPr algn="ctr">
              <a:lnSpc>
                <a:spcPts val="3000"/>
              </a:lnSpc>
              <a:defRPr sz="1600">
                <a:latin typeface="Arial Narrow" panose="020B060602020203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 smtClean="0">
                <a:cs typeface="Times New Roman" panose="02020603050405020304" pitchFamily="18" charset="0"/>
              </a:rPr>
              <a:t>Закупка по п.6 ч.1 ст.93 Закона №44-ФЗ -  услуги по охране помещений для хранения наркотических средств, психотропных веществ и их прекурсоров, относящихся к 1-й и 2-й категориям</a:t>
            </a:r>
            <a:r>
              <a:rPr lang="ru-RU" dirty="0" smtClean="0"/>
              <a:t>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3971713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/>
          <p:cNvSpPr/>
          <p:nvPr/>
        </p:nvSpPr>
        <p:spPr>
          <a:xfrm rot="10800000">
            <a:off x="7029450" y="0"/>
            <a:ext cx="5162550" cy="3028949"/>
          </a:xfrm>
          <a:prstGeom prst="parallelogram">
            <a:avLst>
              <a:gd name="adj" fmla="val 23076"/>
            </a:avLst>
          </a:prstGeom>
          <a:gradFill flip="none" rotWithShape="1">
            <a:gsLst>
              <a:gs pos="49000">
                <a:srgbClr val="A5A1A1"/>
              </a:gs>
              <a:gs pos="0">
                <a:schemeClr val="bg1"/>
              </a:gs>
              <a:gs pos="100000">
                <a:schemeClr val="bg2">
                  <a:lumMod val="50000"/>
                </a:schemeClr>
              </a:gs>
            </a:gsLst>
            <a:lin ang="5400000" scaled="1"/>
            <a:tileRect/>
          </a:gradFill>
          <a:ln w="3175">
            <a:noFill/>
          </a:ln>
          <a:effectLst>
            <a:outerShdw blurRad="889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араллелограмм 4"/>
          <p:cNvSpPr/>
          <p:nvPr/>
        </p:nvSpPr>
        <p:spPr>
          <a:xfrm rot="10800000">
            <a:off x="0" y="0"/>
            <a:ext cx="5162550" cy="4762500"/>
          </a:xfrm>
          <a:prstGeom prst="parallelogram">
            <a:avLst>
              <a:gd name="adj" fmla="val 21076"/>
            </a:avLst>
          </a:prstGeom>
          <a:gradFill flip="none" rotWithShape="1">
            <a:gsLst>
              <a:gs pos="50000">
                <a:srgbClr val="A5A1A1"/>
              </a:gs>
              <a:gs pos="0">
                <a:schemeClr val="bg1"/>
              </a:gs>
              <a:gs pos="100000">
                <a:schemeClr val="bg2">
                  <a:lumMod val="50000"/>
                </a:schemeClr>
              </a:gs>
            </a:gsLst>
            <a:lin ang="5400000" scaled="1"/>
            <a:tileRect/>
          </a:gradFill>
          <a:ln w="3175">
            <a:noFill/>
          </a:ln>
          <a:effectLst>
            <a:outerShdw blurRad="889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Блок-схема: данные 1"/>
          <p:cNvSpPr/>
          <p:nvPr/>
        </p:nvSpPr>
        <p:spPr>
          <a:xfrm>
            <a:off x="657225" y="-90488"/>
            <a:ext cx="10515599" cy="679132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9348"/>
              <a:gd name="connsiteY0" fmla="*/ 10000 h 10000"/>
              <a:gd name="connsiteX1" fmla="*/ 1348 w 9348"/>
              <a:gd name="connsiteY1" fmla="*/ 0 h 10000"/>
              <a:gd name="connsiteX2" fmla="*/ 9348 w 9348"/>
              <a:gd name="connsiteY2" fmla="*/ 0 h 10000"/>
              <a:gd name="connsiteX3" fmla="*/ 7348 w 9348"/>
              <a:gd name="connsiteY3" fmla="*/ 10000 h 10000"/>
              <a:gd name="connsiteX4" fmla="*/ 0 w 9348"/>
              <a:gd name="connsiteY4" fmla="*/ 10000 h 10000"/>
              <a:gd name="connsiteX0" fmla="*/ 0 w 10000"/>
              <a:gd name="connsiteY0" fmla="*/ 10000 h 10018"/>
              <a:gd name="connsiteX1" fmla="*/ 1442 w 10000"/>
              <a:gd name="connsiteY1" fmla="*/ 0 h 10018"/>
              <a:gd name="connsiteX2" fmla="*/ 10000 w 10000"/>
              <a:gd name="connsiteY2" fmla="*/ 0 h 10018"/>
              <a:gd name="connsiteX3" fmla="*/ 8375 w 10000"/>
              <a:gd name="connsiteY3" fmla="*/ 10018 h 10018"/>
              <a:gd name="connsiteX4" fmla="*/ 0 w 10000"/>
              <a:gd name="connsiteY4" fmla="*/ 10000 h 10018"/>
              <a:gd name="connsiteX0" fmla="*/ 0 w 10000"/>
              <a:gd name="connsiteY0" fmla="*/ 10000 h 10001"/>
              <a:gd name="connsiteX1" fmla="*/ 1442 w 10000"/>
              <a:gd name="connsiteY1" fmla="*/ 0 h 10001"/>
              <a:gd name="connsiteX2" fmla="*/ 10000 w 10000"/>
              <a:gd name="connsiteY2" fmla="*/ 0 h 10001"/>
              <a:gd name="connsiteX3" fmla="*/ 8599 w 10000"/>
              <a:gd name="connsiteY3" fmla="*/ 10001 h 10001"/>
              <a:gd name="connsiteX4" fmla="*/ 0 w 10000"/>
              <a:gd name="connsiteY4" fmla="*/ 1000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1">
                <a:moveTo>
                  <a:pt x="0" y="10000"/>
                </a:moveTo>
                <a:lnTo>
                  <a:pt x="1442" y="0"/>
                </a:lnTo>
                <a:lnTo>
                  <a:pt x="10000" y="0"/>
                </a:lnTo>
                <a:lnTo>
                  <a:pt x="8599" y="10001"/>
                </a:lnTo>
                <a:lnTo>
                  <a:pt x="0" y="10000"/>
                </a:lnTo>
                <a:close/>
              </a:path>
            </a:pathLst>
          </a:custGeom>
          <a:gradFill flip="none" rotWithShape="1">
            <a:gsLst>
              <a:gs pos="78000">
                <a:srgbClr val="5D8F3B"/>
              </a:gs>
              <a:gs pos="100000">
                <a:srgbClr val="537F35"/>
              </a:gs>
              <a:gs pos="31000">
                <a:srgbClr val="6DA945">
                  <a:alpha val="95294"/>
                </a:srgbClr>
              </a:gs>
            </a:gsLst>
            <a:path path="rect">
              <a:fillToRect r="100000" b="100000"/>
            </a:path>
            <a:tileRect l="-100000" t="-100000"/>
          </a:gradFill>
          <a:ln>
            <a:solidFill>
              <a:schemeClr val="accent6">
                <a:lumMod val="75000"/>
                <a:alpha val="81000"/>
              </a:schemeClr>
            </a:solidFill>
          </a:ln>
          <a:effectLst>
            <a:outerShdw blurRad="101600" dist="38100" dir="2700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-361950" y="1914525"/>
            <a:ext cx="12439649" cy="2590800"/>
          </a:xfrm>
          <a:prstGeom prst="parallelogram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СПАСИБО ЗА ВНИМАНИЕ!</a:t>
            </a:r>
            <a:endParaRPr lang="ru-RU" sz="3200" b="1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7785" y="257175"/>
            <a:ext cx="806390" cy="1049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498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7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98</TotalTime>
  <Words>439</Words>
  <Application>Microsoft Office PowerPoint</Application>
  <PresentationFormat>Широкоэкранный</PresentationFormat>
  <Paragraphs>61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6" baseType="lpstr">
      <vt:lpstr>Arial</vt:lpstr>
      <vt:lpstr>Arial Narrow</vt:lpstr>
      <vt:lpstr>Bookman Old Style</vt:lpstr>
      <vt:lpstr>Calibri</vt:lpstr>
      <vt:lpstr>Calibri Light</vt:lpstr>
      <vt:lpstr>Symbol</vt:lpstr>
      <vt:lpstr>Times New Roman</vt:lpstr>
      <vt:lpstr>Wingdings</vt:lpstr>
      <vt:lpstr>Тема Office</vt:lpstr>
      <vt:lpstr>57_Голубые тона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ролёва Ирина Владимировна</dc:creator>
  <cp:lastModifiedBy>User</cp:lastModifiedBy>
  <cp:revision>1043</cp:revision>
  <cp:lastPrinted>2021-08-26T10:57:44Z</cp:lastPrinted>
  <dcterms:created xsi:type="dcterms:W3CDTF">2019-02-08T11:57:28Z</dcterms:created>
  <dcterms:modified xsi:type="dcterms:W3CDTF">2021-09-06T13:00:12Z</dcterms:modified>
</cp:coreProperties>
</file>